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6"/>
  </p:notesMasterIdLst>
  <p:handoutMasterIdLst>
    <p:handoutMasterId r:id="rId27"/>
  </p:handoutMasterIdLst>
  <p:sldIdLst>
    <p:sldId id="257" r:id="rId2"/>
    <p:sldId id="446" r:id="rId3"/>
    <p:sldId id="450" r:id="rId4"/>
    <p:sldId id="443" r:id="rId5"/>
    <p:sldId id="430" r:id="rId6"/>
    <p:sldId id="427" r:id="rId7"/>
    <p:sldId id="439" r:id="rId8"/>
    <p:sldId id="441" r:id="rId9"/>
    <p:sldId id="431" r:id="rId10"/>
    <p:sldId id="428" r:id="rId11"/>
    <p:sldId id="424" r:id="rId12"/>
    <p:sldId id="432" r:id="rId13"/>
    <p:sldId id="436" r:id="rId14"/>
    <p:sldId id="433" r:id="rId15"/>
    <p:sldId id="444" r:id="rId16"/>
    <p:sldId id="434" r:id="rId17"/>
    <p:sldId id="358" r:id="rId18"/>
    <p:sldId id="448" r:id="rId19"/>
    <p:sldId id="429" r:id="rId20"/>
    <p:sldId id="435" r:id="rId21"/>
    <p:sldId id="449" r:id="rId22"/>
    <p:sldId id="425" r:id="rId23"/>
    <p:sldId id="426" r:id="rId24"/>
    <p:sldId id="451"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E6FF"/>
    <a:srgbClr val="005EB8"/>
    <a:srgbClr val="00BF6F"/>
    <a:srgbClr val="FE5000"/>
    <a:srgbClr val="B1B3B3"/>
    <a:srgbClr val="13294B"/>
    <a:srgbClr val="6366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48" autoAdjust="0"/>
    <p:restoredTop sz="93886" autoAdjust="0"/>
  </p:normalViewPr>
  <p:slideViewPr>
    <p:cSldViewPr snapToGrid="0" showGuides="1">
      <p:cViewPr>
        <p:scale>
          <a:sx n="119" d="100"/>
          <a:sy n="119" d="100"/>
        </p:scale>
        <p:origin x="1128" y="448"/>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notesMaster" Target="notesMasters/notesMaster1.xml"/><Relationship Id="rId27" Type="http://schemas.openxmlformats.org/officeDocument/2006/relationships/handoutMaster" Target="handoutMasters/handoutMaster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oleObject" Target="file:////Users/jay/Documents/digital_challenge/Valuation.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r>
              <a:rPr lang="en-US"/>
              <a:t>Net Income Projection</a:t>
            </a:r>
          </a:p>
        </c:rich>
      </c:tx>
      <c:layout/>
      <c:overlay val="0"/>
      <c:spPr>
        <a:noFill/>
        <a:ln>
          <a:noFill/>
        </a:ln>
        <a:effectLst/>
      </c:spPr>
      <c:txPr>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endParaRPr lang="en-US"/>
        </a:p>
      </c:txPr>
    </c:title>
    <c:autoTitleDeleted val="0"/>
    <c:plotArea>
      <c:layout/>
      <c:lineChart>
        <c:grouping val="standard"/>
        <c:varyColors val="0"/>
        <c:ser>
          <c:idx val="1"/>
          <c:order val="0"/>
          <c:spPr>
            <a:ln w="34925" cap="rnd">
              <a:solidFill>
                <a:schemeClr val="lt1"/>
              </a:solidFill>
              <a:round/>
            </a:ln>
            <a:effectLst>
              <a:outerShdw dist="25400" dir="2700000" algn="tl" rotWithShape="0">
                <a:schemeClr val="accent1">
                  <a:tint val="77000"/>
                </a:schemeClr>
              </a:outerShd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accent1">
                          <a:lumMod val="60000"/>
                          <a:lumOff val="40000"/>
                        </a:schemeClr>
                      </a:solidFill>
                    </a:ln>
                    <a:effectLst/>
                  </c:spPr>
                </c15:leaderLines>
              </c:ext>
            </c:extLst>
          </c:dLbls>
          <c:val>
            <c:numRef>
              <c:f>Sheet1!$H$29:$H$33</c:f>
              <c:numCache>
                <c:formatCode>"$"#,##0</c:formatCode>
                <c:ptCount val="5"/>
                <c:pt idx="0">
                  <c:v>-34188.0</c:v>
                </c:pt>
                <c:pt idx="1">
                  <c:v>-14188.0</c:v>
                </c:pt>
                <c:pt idx="2">
                  <c:v>41612.0</c:v>
                </c:pt>
                <c:pt idx="3">
                  <c:v>91612.0</c:v>
                </c:pt>
                <c:pt idx="4">
                  <c:v>141612.0</c:v>
                </c:pt>
              </c:numCache>
            </c:numRef>
          </c:val>
          <c:smooth val="0"/>
        </c:ser>
        <c:dLbls>
          <c:dLblPos val="ctr"/>
          <c:showLegendKey val="0"/>
          <c:showVal val="1"/>
          <c:showCatName val="0"/>
          <c:showSerName val="0"/>
          <c:showPercent val="0"/>
          <c:showBubbleSize val="0"/>
        </c:dLbls>
        <c:dropLines>
          <c:spPr>
            <a:ln w="9525" cap="flat" cmpd="sng" algn="ctr">
              <a:gradFill>
                <a:gsLst>
                  <a:gs pos="0">
                    <a:schemeClr val="lt1"/>
                  </a:gs>
                  <a:gs pos="100000">
                    <a:schemeClr val="lt1">
                      <a:alpha val="0"/>
                    </a:schemeClr>
                  </a:gs>
                </a:gsLst>
                <a:lin ang="5400000" scaled="0"/>
              </a:gradFill>
              <a:round/>
            </a:ln>
            <a:effectLst/>
          </c:spPr>
        </c:dropLines>
        <c:smooth val="0"/>
        <c:axId val="-1914125376"/>
        <c:axId val="-1914122624"/>
      </c:lineChart>
      <c:catAx>
        <c:axId val="-1914125376"/>
        <c:scaling>
          <c:orientation val="minMax"/>
        </c:scaling>
        <c:delete val="0"/>
        <c:axPos val="b"/>
        <c:majorTickMark val="none"/>
        <c:minorTickMark val="none"/>
        <c:tickLblPos val="nextTo"/>
        <c:spPr>
          <a:noFill/>
          <a:ln w="12700" cap="flat" cmpd="sng" algn="ctr">
            <a:solidFill>
              <a:schemeClr val="lt1"/>
            </a:solidFill>
            <a:round/>
          </a:ln>
          <a:effectLst/>
        </c:spPr>
        <c:txPr>
          <a:bodyPr rot="-60000000" spcFirstLastPara="1" vertOverflow="ellipsis" vert="horz" wrap="square" anchor="ctr" anchorCtr="1"/>
          <a:lstStyle/>
          <a:p>
            <a:pPr>
              <a:defRPr sz="1197" b="0" i="0" u="none" strike="noStrike" kern="1200" spc="100" baseline="0">
                <a:solidFill>
                  <a:schemeClr val="lt1"/>
                </a:solidFill>
                <a:latin typeface="+mn-lt"/>
                <a:ea typeface="+mn-ea"/>
                <a:cs typeface="+mn-cs"/>
              </a:defRPr>
            </a:pPr>
            <a:endParaRPr lang="en-US"/>
          </a:p>
        </c:txPr>
        <c:crossAx val="-1914122624"/>
        <c:crossesAt val="0.0"/>
        <c:auto val="1"/>
        <c:lblAlgn val="ctr"/>
        <c:lblOffset val="100"/>
        <c:noMultiLvlLbl val="0"/>
      </c:catAx>
      <c:valAx>
        <c:axId val="-1914122624"/>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mn-lt"/>
                <a:ea typeface="+mn-ea"/>
                <a:cs typeface="+mn-cs"/>
              </a:defRPr>
            </a:pPr>
            <a:endParaRPr lang="en-US"/>
          </a:p>
        </c:txPr>
        <c:crossAx val="-1914125376"/>
        <c:crosses val="autoZero"/>
        <c:crossBetween val="between"/>
        <c:minorUnit val="4000.0"/>
        <c:dispUnits>
          <c:builtInUnit val="thousands"/>
          <c:dispUnitsLbl>
            <c:layout>
              <c:manualLayout>
                <c:xMode val="edge"/>
                <c:yMode val="edge"/>
                <c:x val="0.0290086899563165"/>
                <c:y val="0.399495288521353"/>
              </c:manualLayout>
            </c:layout>
            <c:tx>
              <c:rich>
                <a:bodyPr rot="-5400000" spcFirstLastPara="1" vertOverflow="ellipsis" vert="horz" wrap="square" anchor="ctr" anchorCtr="1"/>
                <a:lstStyle/>
                <a:p>
                  <a:pPr>
                    <a:defRPr sz="1197" b="1" i="0" u="none" strike="noStrike" kern="1200" baseline="0">
                      <a:solidFill>
                        <a:schemeClr val="lt1"/>
                      </a:solidFill>
                      <a:latin typeface="+mn-lt"/>
                      <a:ea typeface="+mn-ea"/>
                      <a:cs typeface="+mn-cs"/>
                    </a:defRPr>
                  </a:pPr>
                  <a:r>
                    <a:rPr lang="en-US"/>
                    <a:t>$ (Thousands)</a:t>
                  </a:r>
                </a:p>
              </c:rich>
            </c:tx>
            <c:spPr>
              <a:noFill/>
              <a:ln>
                <a:noFill/>
              </a:ln>
              <a:effectLst/>
            </c:spPr>
            <c:txPr>
              <a:bodyPr rot="-5400000" spcFirstLastPara="1" vertOverflow="ellipsis" vert="horz" wrap="square" anchor="ctr" anchorCtr="1"/>
              <a:lstStyle/>
              <a:p>
                <a:pPr>
                  <a:defRPr sz="1197" b="1" i="0" u="none" strike="noStrike" kern="1200" baseline="0">
                    <a:solidFill>
                      <a:schemeClr val="lt1"/>
                    </a:solidFill>
                    <a:latin typeface="+mn-lt"/>
                    <a:ea typeface="+mn-ea"/>
                    <a:cs typeface="+mn-cs"/>
                  </a:defRPr>
                </a:pPr>
                <a:endParaRPr lang="en-US"/>
              </a:p>
            </c:txPr>
          </c:dispUnitsLbl>
        </c:dispUnits>
      </c:valAx>
      <c:spPr>
        <a:noFill/>
        <a:ln>
          <a:noFill/>
        </a:ln>
        <a:effectLst/>
      </c:spPr>
    </c:plotArea>
    <c:plotVisOnly val="1"/>
    <c:dispBlanksAs val="gap"/>
    <c:showDLblsOverMax val="0"/>
  </c:chart>
  <c:spPr>
    <a:solidFill>
      <a:schemeClr val="accent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9">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12700" cap="flat" cmpd="sng" algn="ctr">
        <a:solidFill>
          <a:schemeClr val="lt1"/>
        </a:solidFill>
        <a:round/>
      </a:ln>
    </cs:spPr>
    <cs:defRPr sz="1197"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effectRef idx="0"/>
    <cs:fontRef idx="minor">
      <a:schemeClr val="lt1"/>
    </cs:fontRef>
    <cs:defRPr sz="1197" b="1"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7.e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7-07-31</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 Id="rId2" Type="http://schemas.openxmlformats.org/officeDocument/2006/relationships/image" Target="../media/image7.e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7-07-31</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3880334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19</a:t>
            </a:fld>
            <a:endParaRPr lang="en-CA"/>
          </a:p>
        </p:txBody>
      </p:sp>
    </p:spTree>
    <p:extLst>
      <p:ext uri="{BB962C8B-B14F-4D97-AF65-F5344CB8AC3E}">
        <p14:creationId xmlns:p14="http://schemas.microsoft.com/office/powerpoint/2010/main" val="436735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21</a:t>
            </a:fld>
            <a:endParaRPr lang="en-CA"/>
          </a:p>
        </p:txBody>
      </p:sp>
    </p:spTree>
    <p:extLst>
      <p:ext uri="{BB962C8B-B14F-4D97-AF65-F5344CB8AC3E}">
        <p14:creationId xmlns:p14="http://schemas.microsoft.com/office/powerpoint/2010/main" val="656054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22</a:t>
            </a:fld>
            <a:endParaRPr lang="en-CA"/>
          </a:p>
        </p:txBody>
      </p:sp>
    </p:spTree>
    <p:extLst>
      <p:ext uri="{BB962C8B-B14F-4D97-AF65-F5344CB8AC3E}">
        <p14:creationId xmlns:p14="http://schemas.microsoft.com/office/powerpoint/2010/main" val="1810589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2</a:t>
            </a:fld>
            <a:endParaRPr lang="en-CA"/>
          </a:p>
        </p:txBody>
      </p:sp>
    </p:spTree>
    <p:extLst>
      <p:ext uri="{BB962C8B-B14F-4D97-AF65-F5344CB8AC3E}">
        <p14:creationId xmlns:p14="http://schemas.microsoft.com/office/powerpoint/2010/main" val="1680801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4A55B9BF-99C7-425D-A1C7-4E0B8871658A}" type="slidenum">
              <a:rPr lang="en-US" smtClean="0"/>
              <a:t>4</a:t>
            </a:fld>
            <a:endParaRPr lang="en-US" dirty="0"/>
          </a:p>
        </p:txBody>
      </p:sp>
    </p:spTree>
    <p:extLst>
      <p:ext uri="{BB962C8B-B14F-4D97-AF65-F5344CB8AC3E}">
        <p14:creationId xmlns:p14="http://schemas.microsoft.com/office/powerpoint/2010/main" val="1647817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7</a:t>
            </a:fld>
            <a:endParaRPr lang="en-CA"/>
          </a:p>
        </p:txBody>
      </p:sp>
    </p:spTree>
    <p:extLst>
      <p:ext uri="{BB962C8B-B14F-4D97-AF65-F5344CB8AC3E}">
        <p14:creationId xmlns:p14="http://schemas.microsoft.com/office/powerpoint/2010/main" val="16865802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8</a:t>
            </a:fld>
            <a:endParaRPr lang="en-CA"/>
          </a:p>
        </p:txBody>
      </p:sp>
    </p:spTree>
    <p:extLst>
      <p:ext uri="{BB962C8B-B14F-4D97-AF65-F5344CB8AC3E}">
        <p14:creationId xmlns:p14="http://schemas.microsoft.com/office/powerpoint/2010/main" val="2022489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0</a:t>
            </a:fld>
            <a:endParaRPr lang="en-CA"/>
          </a:p>
        </p:txBody>
      </p:sp>
    </p:spTree>
    <p:extLst>
      <p:ext uri="{BB962C8B-B14F-4D97-AF65-F5344CB8AC3E}">
        <p14:creationId xmlns:p14="http://schemas.microsoft.com/office/powerpoint/2010/main" val="1454978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A55B9BF-99C7-425D-A1C7-4E0B8871658A}" type="slidenum">
              <a:rPr lang="en-US" sz="1800" kern="0" smtClean="0">
                <a:solidFill>
                  <a:sysClr val="windowText" lastClr="000000"/>
                </a:solidFill>
                <a:latin typeface="Calibri"/>
              </a:rPr>
              <a:pPr>
                <a:defRPr/>
              </a:pPr>
              <a:t>13</a:t>
            </a:fld>
            <a:endParaRPr lang="en-US" sz="1800" kern="0">
              <a:solidFill>
                <a:sysClr val="windowText" lastClr="000000"/>
              </a:solidFill>
              <a:latin typeface="Calibri"/>
            </a:endParaRPr>
          </a:p>
        </p:txBody>
      </p:sp>
    </p:spTree>
    <p:extLst>
      <p:ext uri="{BB962C8B-B14F-4D97-AF65-F5344CB8AC3E}">
        <p14:creationId xmlns:p14="http://schemas.microsoft.com/office/powerpoint/2010/main" val="566764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A55B9BF-99C7-425D-A1C7-4E0B8871658A}" type="slidenum">
              <a:rPr lang="en-US" sz="1800" kern="0" smtClean="0">
                <a:solidFill>
                  <a:sysClr val="windowText" lastClr="000000"/>
                </a:solidFill>
                <a:latin typeface="Calibri"/>
              </a:rPr>
              <a:pPr>
                <a:defRPr/>
              </a:pPr>
              <a:t>17</a:t>
            </a:fld>
            <a:endParaRPr lang="en-US" sz="1800" kern="0">
              <a:solidFill>
                <a:sysClr val="windowText" lastClr="000000"/>
              </a:solidFill>
              <a:latin typeface="Calibri"/>
            </a:endParaRPr>
          </a:p>
        </p:txBody>
      </p:sp>
    </p:spTree>
    <p:extLst>
      <p:ext uri="{BB962C8B-B14F-4D97-AF65-F5344CB8AC3E}">
        <p14:creationId xmlns:p14="http://schemas.microsoft.com/office/powerpoint/2010/main" val="2727014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18</a:t>
            </a:fld>
            <a:endParaRPr lang="en-CA"/>
          </a:p>
        </p:txBody>
      </p:sp>
    </p:spTree>
    <p:extLst>
      <p:ext uri="{BB962C8B-B14F-4D97-AF65-F5344CB8AC3E}">
        <p14:creationId xmlns:p14="http://schemas.microsoft.com/office/powerpoint/2010/main" val="755639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 Id="rId3"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6.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5766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p>
            <a:r>
              <a:rPr lang="en-US" dirty="0"/>
              <a:t>Click to insert headline</a:t>
            </a:r>
          </a:p>
        </p:txBody>
      </p:sp>
      <p:sp>
        <p:nvSpPr>
          <p:cNvPr id="7" name="Text Placeholder 6"/>
          <p:cNvSpPr>
            <a:spLocks noGrp="1"/>
          </p:cNvSpPr>
          <p:nvPr>
            <p:ph type="body" sz="quarter" idx="10" hasCustomPrompt="1"/>
          </p:nvPr>
        </p:nvSpPr>
        <p:spPr>
          <a:xfrm>
            <a:off x="548218" y="1545336"/>
            <a:ext cx="11082528" cy="3383280"/>
          </a:xfrm>
        </p:spPr>
        <p:txBody>
          <a:bodyPr/>
          <a:lstStyle/>
          <a:p>
            <a:pPr lvl="0"/>
            <a:r>
              <a:rPr lang="en-US" dirty="0"/>
              <a:t>Click to insert content</a:t>
            </a:r>
          </a:p>
          <a:p>
            <a:pPr lvl="1"/>
            <a:r>
              <a:rPr lang="en-US" dirty="0"/>
              <a:t>First level bullet </a:t>
            </a:r>
          </a:p>
          <a:p>
            <a:pPr lvl="2"/>
            <a:r>
              <a:rPr lang="en-US" dirty="0"/>
              <a:t>Second level bullet</a:t>
            </a:r>
          </a:p>
          <a:p>
            <a:pPr lvl="3"/>
            <a:r>
              <a:rPr lang="en-US" dirty="0"/>
              <a:t>Third level bullet</a:t>
            </a:r>
          </a:p>
        </p:txBody>
      </p:sp>
    </p:spTree>
    <p:extLst>
      <p:ext uri="{BB962C8B-B14F-4D97-AF65-F5344CB8AC3E}">
        <p14:creationId xmlns:p14="http://schemas.microsoft.com/office/powerpoint/2010/main" val="3057716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21"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8.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 Id="rId3" Type="http://schemas.openxmlformats.org/officeDocument/2006/relationships/image" Target="../media/image21.tif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9.xml"/><Relationship Id="rId3" Type="http://schemas.openxmlformats.org/officeDocument/2006/relationships/chart" Target="../charts/char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0.xml"/><Relationship Id="rId3"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9.tiff"/><Relationship Id="rId4" Type="http://schemas.openxmlformats.org/officeDocument/2006/relationships/image" Target="../media/image10.tiff"/><Relationship Id="rId5" Type="http://schemas.openxmlformats.org/officeDocument/2006/relationships/image" Target="../media/image11.tiff"/><Relationship Id="rId6" Type="http://schemas.openxmlformats.org/officeDocument/2006/relationships/image" Target="../media/image12.jpg"/><Relationship Id="rId7" Type="http://schemas.openxmlformats.org/officeDocument/2006/relationships/image" Target="../media/image13.png"/><Relationship Id="rId8" Type="http://schemas.openxmlformats.org/officeDocument/2006/relationships/image" Target="../media/image14.png"/><Relationship Id="rId9" Type="http://schemas.openxmlformats.org/officeDocument/2006/relationships/image" Target="../media/image15.jpg"/><Relationship Id="rId10" Type="http://schemas.openxmlformats.org/officeDocument/2006/relationships/image" Target="../media/image16.jpg"/><Relationship Id="rId11" Type="http://schemas.openxmlformats.org/officeDocument/2006/relationships/image" Target="../media/image17.jpg"/><Relationship Id="rId1" Type="http://schemas.openxmlformats.org/officeDocument/2006/relationships/slideLayout" Target="../slideLayouts/slideLayout11.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1.xml"/><Relationship Id="rId3" Type="http://schemas.openxmlformats.org/officeDocument/2006/relationships/image" Target="../media/image23.tif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s://current-vision.run.aws-usw02-pr.ice.predix.io/"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4.xml"/><Relationship Id="rId3" Type="http://schemas.openxmlformats.org/officeDocument/2006/relationships/image" Target="../media/image18.tiff"/></Relationships>
</file>

<file path=ppt/slides/_rels/slide8.xml.rels><?xml version="1.0" encoding="UTF-8" standalone="yes"?>
<Relationships xmlns="http://schemas.openxmlformats.org/package/2006/relationships"><Relationship Id="rId3" Type="http://schemas.openxmlformats.org/officeDocument/2006/relationships/image" Target="../media/image19.tiff"/><Relationship Id="rId4" Type="http://schemas.openxmlformats.org/officeDocument/2006/relationships/image" Target="../media/image20.tiff"/><Relationship Id="rId1" Type="http://schemas.openxmlformats.org/officeDocument/2006/relationships/slideLayout" Target="../slideLayouts/slideLayout11.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196788" y="1734669"/>
            <a:ext cx="9434700" cy="1519517"/>
          </a:xfrm>
        </p:spPr>
        <p:txBody>
          <a:bodyPr/>
          <a:lstStyle/>
          <a:p>
            <a:r>
              <a:rPr lang="en-US" dirty="0" smtClean="0"/>
              <a:t>		   		Current Vision</a:t>
            </a:r>
            <a:r>
              <a:rPr lang="en-US" dirty="0"/>
              <a:t/>
            </a:r>
            <a:br>
              <a:rPr lang="en-US" dirty="0"/>
            </a:br>
            <a:r>
              <a:rPr lang="en-US" dirty="0" smtClean="0"/>
              <a:t>		   		</a:t>
            </a:r>
            <a:r>
              <a:rPr lang="en-US" sz="3200" dirty="0" smtClean="0"/>
              <a:t>Venture Pitch</a:t>
            </a:r>
            <a:r>
              <a:rPr lang="en-US" dirty="0"/>
              <a:t/>
            </a:r>
            <a:br>
              <a:rPr lang="en-US" dirty="0"/>
            </a:br>
            <a:r>
              <a:rPr lang="en-US" sz="2000" dirty="0"/>
              <a:t/>
            </a:r>
            <a:br>
              <a:rPr lang="en-US" sz="2000" dirty="0"/>
            </a:br>
            <a:endParaRPr lang="en-US" sz="2000" dirty="0"/>
          </a:p>
        </p:txBody>
      </p:sp>
      <p:sp>
        <p:nvSpPr>
          <p:cNvPr id="3" name="Rectangle 6"/>
          <p:cNvSpPr>
            <a:spLocks noChangeArrowheads="1"/>
          </p:cNvSpPr>
          <p:nvPr/>
        </p:nvSpPr>
        <p:spPr bwMode="auto">
          <a:xfrm>
            <a:off x="1570249" y="6156109"/>
            <a:ext cx="670359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1" hangingPunct="1">
              <a:buClr>
                <a:srgbClr val="004880"/>
              </a:buClr>
              <a:defRPr/>
            </a:pPr>
            <a:r>
              <a:rPr lang="en-US" sz="900" dirty="0">
                <a:solidFill>
                  <a:srgbClr val="454545"/>
                </a:solidFill>
                <a:cs typeface="Arial" pitchFamily="34" charset="0"/>
              </a:rPr>
              <a:t>This document is preliminary and is neither final nor complete. Rather, this is incomplete and possibly incorrect in some places, reflecting the fact that it is work in progress.  Accordingly, no inference or conclusion should be drawn from this draft document with respect to the quality or effectiveness of GE's internal control over financial reporting or disclosure controls and procedures.</a:t>
            </a:r>
          </a:p>
        </p:txBody>
      </p:sp>
      <p:sp>
        <p:nvSpPr>
          <p:cNvPr id="5" name="TextBox 4"/>
          <p:cNvSpPr txBox="1"/>
          <p:nvPr/>
        </p:nvSpPr>
        <p:spPr>
          <a:xfrm>
            <a:off x="8273845" y="3587261"/>
            <a:ext cx="3611562" cy="2060504"/>
          </a:xfrm>
          <a:prstGeom prst="rect">
            <a:avLst/>
          </a:prstGeom>
        </p:spPr>
        <p:txBody>
          <a:bodyPr vert="horz" lIns="0" tIns="0" rIns="0" bIns="0" rtlCol="0" anchor="t" anchorCtr="0">
            <a:noAutofit/>
          </a:bodyPr>
          <a:lstStyle>
            <a:defPPr>
              <a:defRPr lang="en-US"/>
            </a:defPPr>
            <a:lvl1pPr>
              <a:defRPr sz="1600" b="1">
                <a:solidFill>
                  <a:schemeClr val="accent2"/>
                </a:solidFill>
              </a:defRPr>
            </a:lvl1pPr>
          </a:lstStyle>
          <a:p>
            <a:r>
              <a:rPr lang="en-US" u="sng" dirty="0"/>
              <a:t>Agenda</a:t>
            </a:r>
          </a:p>
          <a:p>
            <a:pPr marL="285750" indent="-285750">
              <a:buFont typeface="Arial" panose="020B0604020202020204" pitchFamily="34" charset="0"/>
              <a:buChar char="•"/>
            </a:pPr>
            <a:r>
              <a:rPr lang="en-US" b="0" dirty="0"/>
              <a:t>Lean Canvas Summary</a:t>
            </a:r>
          </a:p>
          <a:p>
            <a:pPr marL="285750" indent="-285750">
              <a:buFont typeface="Arial" panose="020B0604020202020204" pitchFamily="34" charset="0"/>
              <a:buChar char="•"/>
            </a:pPr>
            <a:r>
              <a:rPr lang="en-US" b="0" dirty="0" smtClean="0"/>
              <a:t>Business Model</a:t>
            </a:r>
            <a:endParaRPr lang="en-US" b="0" dirty="0"/>
          </a:p>
          <a:p>
            <a:pPr marL="285750" indent="-285750">
              <a:buFont typeface="Arial" panose="020B0604020202020204" pitchFamily="34" charset="0"/>
              <a:buChar char="•"/>
            </a:pPr>
            <a:r>
              <a:rPr lang="en-US" b="0" dirty="0" smtClean="0"/>
              <a:t>Product Development</a:t>
            </a:r>
            <a:endParaRPr lang="en-US" b="0" dirty="0"/>
          </a:p>
          <a:p>
            <a:pPr marL="285750" indent="-285750">
              <a:buFont typeface="Arial" panose="020B0604020202020204" pitchFamily="34" charset="0"/>
              <a:buChar char="•"/>
            </a:pPr>
            <a:r>
              <a:rPr lang="en-US" b="0" dirty="0" smtClean="0"/>
              <a:t>Market Strategy</a:t>
            </a:r>
          </a:p>
          <a:p>
            <a:pPr marL="285750" indent="-285750">
              <a:buFont typeface="Arial" panose="020B0604020202020204" pitchFamily="34" charset="0"/>
              <a:buChar char="•"/>
            </a:pPr>
            <a:r>
              <a:rPr lang="en-US" b="0" dirty="0" smtClean="0"/>
              <a:t>Pricing and Revenue</a:t>
            </a:r>
          </a:p>
          <a:p>
            <a:pPr marL="285750" indent="-285750">
              <a:buFont typeface="Arial" panose="020B0604020202020204" pitchFamily="34" charset="0"/>
              <a:buChar char="•"/>
            </a:pPr>
            <a:r>
              <a:rPr lang="en-US" b="0" dirty="0" smtClean="0"/>
              <a:t>Financing</a:t>
            </a:r>
          </a:p>
          <a:p>
            <a:pPr marL="285750" indent="-285750">
              <a:buFont typeface="Arial" panose="020B0604020202020204" pitchFamily="34" charset="0"/>
              <a:buChar char="•"/>
            </a:pPr>
            <a:r>
              <a:rPr lang="en-US" b="0" dirty="0" smtClean="0"/>
              <a:t>Customer Impact</a:t>
            </a:r>
          </a:p>
        </p:txBody>
      </p:sp>
      <p:pic>
        <p:nvPicPr>
          <p:cNvPr id="2" name="Picture 1"/>
          <p:cNvPicPr>
            <a:picLocks noChangeAspect="1"/>
          </p:cNvPicPr>
          <p:nvPr/>
        </p:nvPicPr>
        <p:blipFill>
          <a:blip r:embed="rId3"/>
          <a:stretch>
            <a:fillRect/>
          </a:stretch>
        </p:blipFill>
        <p:spPr>
          <a:xfrm>
            <a:off x="1406235" y="1734669"/>
            <a:ext cx="3046458" cy="1410270"/>
          </a:xfrm>
          <a:prstGeom prst="rect">
            <a:avLst/>
          </a:prstGeom>
        </p:spPr>
      </p:pic>
    </p:spTree>
    <p:extLst>
      <p:ext uri="{BB962C8B-B14F-4D97-AF65-F5344CB8AC3E}">
        <p14:creationId xmlns:p14="http://schemas.microsoft.com/office/powerpoint/2010/main" val="41636127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11403950" y="6474576"/>
            <a:ext cx="329636" cy="182880"/>
          </a:xfrm>
        </p:spPr>
        <p:txBody>
          <a:bodyPr/>
          <a:lstStyle/>
          <a:p>
            <a:fld id="{00E6A5BD-C011-4A45-AA3A-201790FB7F2B}" type="slidenum">
              <a:rPr lang="en-CA" smtClean="0"/>
              <a:t>10</a:t>
            </a:fld>
            <a:endParaRPr lang="en-CA" dirty="0"/>
          </a:p>
        </p:txBody>
      </p:sp>
      <p:sp>
        <p:nvSpPr>
          <p:cNvPr id="146" name="TextBox 145"/>
          <p:cNvSpPr txBox="1"/>
          <p:nvPr/>
        </p:nvSpPr>
        <p:spPr bwMode="gray">
          <a:xfrm>
            <a:off x="633035" y="1178537"/>
            <a:ext cx="790281" cy="292388"/>
          </a:xfrm>
          <a:prstGeom prst="rect">
            <a:avLst/>
          </a:prstGeom>
          <a:noFill/>
          <a:ln>
            <a:noFill/>
          </a:ln>
          <a:effectLst/>
        </p:spPr>
        <p:txBody>
          <a:bodyPr wrap="none" lIns="0" tIns="0" rIns="0" anchor="ctr">
            <a:spAutoFit/>
          </a:bodyPr>
          <a:lstStyle>
            <a:defPPr>
              <a:defRPr lang="en-US"/>
            </a:defPPr>
            <a:lvl1pPr algn="ctr">
              <a:defRPr sz="1400" b="1">
                <a:solidFill>
                  <a:srgbClr val="1E4191"/>
                </a:solidFill>
              </a:defRPr>
            </a:lvl1pPr>
          </a:lstStyle>
          <a:p>
            <a:r>
              <a:rPr lang="en-US" sz="1600" dirty="0" smtClean="0">
                <a:solidFill>
                  <a:schemeClr val="tx1"/>
                </a:solidFill>
                <a:latin typeface="GE Inspira" charset="0"/>
                <a:ea typeface="GE Inspira" charset="0"/>
                <a:cs typeface="GE Inspira" charset="0"/>
              </a:rPr>
              <a:t>Features</a:t>
            </a:r>
            <a:endParaRPr lang="en-US" sz="1600" dirty="0">
              <a:solidFill>
                <a:schemeClr val="tx1"/>
              </a:solidFill>
              <a:latin typeface="GE Inspira" charset="0"/>
              <a:ea typeface="GE Inspira" charset="0"/>
              <a:cs typeface="GE Inspira" charset="0"/>
            </a:endParaRPr>
          </a:p>
        </p:txBody>
      </p:sp>
      <p:cxnSp>
        <p:nvCxnSpPr>
          <p:cNvPr id="147" name="Straight Connector 2"/>
          <p:cNvCxnSpPr>
            <a:cxnSpLocks noChangeShapeType="1"/>
          </p:cNvCxnSpPr>
          <p:nvPr/>
        </p:nvCxnSpPr>
        <p:spPr bwMode="gray">
          <a:xfrm>
            <a:off x="442576" y="1519745"/>
            <a:ext cx="1325880" cy="0"/>
          </a:xfrm>
          <a:prstGeom prst="line">
            <a:avLst/>
          </a:prstGeom>
          <a:noFill/>
          <a:ln w="19050" cap="flat" cmpd="sng" algn="ctr">
            <a:solidFill>
              <a:sysClr val="window" lastClr="FFFFFF">
                <a:lumMod val="75000"/>
              </a:sysClr>
            </a:solidFill>
            <a:prstDash val="solid"/>
            <a:headEnd type="none" w="med" len="med"/>
            <a:tailEnd type="none" w="med" len="med"/>
          </a:ln>
          <a:effectLst/>
          <a:extLst/>
        </p:spPr>
      </p:cxnSp>
      <p:sp>
        <p:nvSpPr>
          <p:cNvPr id="74" name="TextBox 73"/>
          <p:cNvSpPr txBox="1"/>
          <p:nvPr/>
        </p:nvSpPr>
        <p:spPr bwMode="gray">
          <a:xfrm>
            <a:off x="4493341" y="1178537"/>
            <a:ext cx="2236190" cy="292388"/>
          </a:xfrm>
          <a:prstGeom prst="rect">
            <a:avLst/>
          </a:prstGeom>
          <a:noFill/>
          <a:ln>
            <a:noFill/>
          </a:ln>
          <a:effectLst/>
        </p:spPr>
        <p:txBody>
          <a:bodyPr wrap="none" lIns="0" tIns="0" rIns="0" anchor="ctr">
            <a:spAutoFit/>
          </a:bodyPr>
          <a:lstStyle>
            <a:defPPr>
              <a:defRPr lang="en-US"/>
            </a:defPPr>
            <a:lvl1pPr algn="ctr">
              <a:defRPr sz="1400" b="1">
                <a:solidFill>
                  <a:srgbClr val="1E4191"/>
                </a:solidFill>
              </a:defRPr>
            </a:lvl1pPr>
          </a:lstStyle>
          <a:p>
            <a:r>
              <a:rPr lang="en-US" sz="1600" dirty="0" smtClean="0">
                <a:solidFill>
                  <a:schemeClr val="tx1"/>
                </a:solidFill>
                <a:latin typeface="GE Inspira" charset="0"/>
                <a:ea typeface="GE Inspira" charset="0"/>
                <a:cs typeface="GE Inspira" charset="0"/>
              </a:rPr>
              <a:t>Implementation Options</a:t>
            </a:r>
            <a:endParaRPr lang="en-US" sz="1600" dirty="0">
              <a:solidFill>
                <a:schemeClr val="tx1"/>
              </a:solidFill>
              <a:latin typeface="GE Inspira" charset="0"/>
              <a:ea typeface="GE Inspira" charset="0"/>
              <a:cs typeface="GE Inspira" charset="0"/>
            </a:endParaRPr>
          </a:p>
        </p:txBody>
      </p:sp>
      <p:cxnSp>
        <p:nvCxnSpPr>
          <p:cNvPr id="75" name="Straight Connector 2"/>
          <p:cNvCxnSpPr>
            <a:cxnSpLocks noChangeShapeType="1"/>
          </p:cNvCxnSpPr>
          <p:nvPr/>
        </p:nvCxnSpPr>
        <p:spPr bwMode="gray">
          <a:xfrm flipV="1">
            <a:off x="1990523" y="1504260"/>
            <a:ext cx="7955280" cy="15485"/>
          </a:xfrm>
          <a:prstGeom prst="line">
            <a:avLst/>
          </a:prstGeom>
          <a:noFill/>
          <a:ln w="19050" cap="flat" cmpd="sng" algn="ctr">
            <a:solidFill>
              <a:sysClr val="window" lastClr="FFFFFF">
                <a:lumMod val="75000"/>
              </a:sysClr>
            </a:solidFill>
            <a:prstDash val="solid"/>
            <a:headEnd type="none" w="med" len="med"/>
            <a:tailEnd type="none" w="med" len="med"/>
          </a:ln>
          <a:effectLst/>
          <a:extLst/>
        </p:spPr>
      </p:cxnSp>
      <p:sp>
        <p:nvSpPr>
          <p:cNvPr id="123" name="TextBox 122"/>
          <p:cNvSpPr txBox="1"/>
          <p:nvPr/>
        </p:nvSpPr>
        <p:spPr bwMode="gray">
          <a:xfrm>
            <a:off x="10276562" y="1178537"/>
            <a:ext cx="1721625" cy="292388"/>
          </a:xfrm>
          <a:prstGeom prst="rect">
            <a:avLst/>
          </a:prstGeom>
          <a:noFill/>
          <a:ln>
            <a:noFill/>
          </a:ln>
          <a:effectLst/>
        </p:spPr>
        <p:txBody>
          <a:bodyPr wrap="none" lIns="0" tIns="0" rIns="0" anchor="ctr">
            <a:spAutoFit/>
          </a:bodyPr>
          <a:lstStyle>
            <a:defPPr>
              <a:defRPr lang="en-US"/>
            </a:defPPr>
            <a:lvl1pPr algn="ctr">
              <a:defRPr sz="1400" b="1">
                <a:solidFill>
                  <a:srgbClr val="1E4191"/>
                </a:solidFill>
              </a:defRPr>
            </a:lvl1pPr>
          </a:lstStyle>
          <a:p>
            <a:r>
              <a:rPr lang="en-US" sz="1600" dirty="0">
                <a:solidFill>
                  <a:schemeClr val="tx1"/>
                </a:solidFill>
                <a:latin typeface="GE Inspira" charset="0"/>
                <a:ea typeface="GE Inspira" charset="0"/>
                <a:cs typeface="GE Inspira" charset="0"/>
              </a:rPr>
              <a:t>Level of confidence</a:t>
            </a:r>
          </a:p>
        </p:txBody>
      </p:sp>
      <p:cxnSp>
        <p:nvCxnSpPr>
          <p:cNvPr id="124" name="Straight Connector 2"/>
          <p:cNvCxnSpPr>
            <a:cxnSpLocks noChangeShapeType="1"/>
          </p:cNvCxnSpPr>
          <p:nvPr/>
        </p:nvCxnSpPr>
        <p:spPr bwMode="gray">
          <a:xfrm>
            <a:off x="10276562" y="1516345"/>
            <a:ext cx="1764747" cy="0"/>
          </a:xfrm>
          <a:prstGeom prst="line">
            <a:avLst/>
          </a:prstGeom>
          <a:noFill/>
          <a:ln w="19050" cap="flat" cmpd="sng" algn="ctr">
            <a:solidFill>
              <a:sysClr val="window" lastClr="FFFFFF">
                <a:lumMod val="75000"/>
              </a:sysClr>
            </a:solidFill>
            <a:prstDash val="solid"/>
            <a:headEnd type="none" w="med" len="med"/>
            <a:tailEnd type="none" w="med" len="med"/>
          </a:ln>
          <a:effectLst/>
          <a:extLst/>
        </p:spPr>
      </p:cxnSp>
      <p:grpSp>
        <p:nvGrpSpPr>
          <p:cNvPr id="61" name="Group 60"/>
          <p:cNvGrpSpPr/>
          <p:nvPr/>
        </p:nvGrpSpPr>
        <p:grpSpPr>
          <a:xfrm>
            <a:off x="439836" y="1815958"/>
            <a:ext cx="1303544" cy="632481"/>
            <a:chOff x="441809" y="2652226"/>
            <a:chExt cx="1303544" cy="632481"/>
          </a:xfrm>
        </p:grpSpPr>
        <p:sp>
          <p:nvSpPr>
            <p:cNvPr id="63"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Map View</a:t>
              </a:r>
              <a:endParaRPr lang="de-DE" sz="1200" dirty="0">
                <a:solidFill>
                  <a:schemeClr val="tx1">
                    <a:lumMod val="50000"/>
                  </a:schemeClr>
                </a:solidFill>
                <a:latin typeface="GE Inspira" charset="0"/>
                <a:ea typeface="GE Inspira" charset="0"/>
                <a:cs typeface="GE Inspira" charset="0"/>
              </a:endParaRPr>
            </a:p>
          </p:txBody>
        </p:sp>
        <p:sp>
          <p:nvSpPr>
            <p:cNvPr id="66" name="Freeform 5"/>
            <p:cNvSpPr>
              <a:spLocks/>
            </p:cNvSpPr>
            <p:nvPr/>
          </p:nvSpPr>
          <p:spPr bwMode="auto">
            <a:xfrm>
              <a:off x="441809" y="26522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25" name="TextBox 124"/>
          <p:cNvSpPr txBox="1"/>
          <p:nvPr/>
        </p:nvSpPr>
        <p:spPr>
          <a:xfrm>
            <a:off x="2107172" y="1927468"/>
            <a:ext cx="7723005" cy="184666"/>
          </a:xfrm>
          <a:prstGeom prst="rect">
            <a:avLst/>
          </a:prstGeom>
          <a:noFill/>
        </p:spPr>
        <p:txBody>
          <a:bodyPr wrap="square" lIns="0" tIns="0" rIns="0" bIns="0" rtlCol="0" anchor="ctr">
            <a:spAutoFit/>
          </a:bodyPr>
          <a:lstStyle/>
          <a:p>
            <a:pPr>
              <a:spcAft>
                <a:spcPts val="600"/>
              </a:spcAft>
            </a:pPr>
            <a:r>
              <a:rPr lang="en-US" sz="1200" dirty="0">
                <a:solidFill>
                  <a:schemeClr val="tx1">
                    <a:lumMod val="50000"/>
                  </a:schemeClr>
                </a:solidFill>
              </a:rPr>
              <a:t>Allow users to view the flow of pedestrians and vehicles in real-time by using Google Maps API</a:t>
            </a:r>
            <a:endParaRPr lang="en-GB" sz="1200" dirty="0">
              <a:solidFill>
                <a:schemeClr val="tx1">
                  <a:lumMod val="50000"/>
                </a:schemeClr>
              </a:solidFill>
              <a:latin typeface="GE Inspira" charset="0"/>
              <a:ea typeface="GE Inspira" charset="0"/>
              <a:cs typeface="GE Inspira" charset="0"/>
            </a:endParaRPr>
          </a:p>
        </p:txBody>
      </p:sp>
      <p:grpSp>
        <p:nvGrpSpPr>
          <p:cNvPr id="87" name="Group 86"/>
          <p:cNvGrpSpPr/>
          <p:nvPr/>
        </p:nvGrpSpPr>
        <p:grpSpPr>
          <a:xfrm>
            <a:off x="439836" y="2389221"/>
            <a:ext cx="1303544" cy="632481"/>
            <a:chOff x="441809" y="2626826"/>
            <a:chExt cx="1303544" cy="632481"/>
          </a:xfrm>
        </p:grpSpPr>
        <p:sp>
          <p:nvSpPr>
            <p:cNvPr id="91"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GE Current APIs</a:t>
              </a:r>
              <a:endParaRPr lang="de-DE" sz="1200" dirty="0">
                <a:solidFill>
                  <a:schemeClr val="tx1">
                    <a:lumMod val="50000"/>
                  </a:schemeClr>
                </a:solidFill>
                <a:latin typeface="GE Inspira" charset="0"/>
                <a:ea typeface="GE Inspira" charset="0"/>
                <a:cs typeface="GE Inspira" charset="0"/>
              </a:endParaRPr>
            </a:p>
          </p:txBody>
        </p:sp>
        <p:sp>
          <p:nvSpPr>
            <p:cNvPr id="97"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26" name="TextBox 125"/>
          <p:cNvSpPr txBox="1"/>
          <p:nvPr/>
        </p:nvSpPr>
        <p:spPr>
          <a:xfrm>
            <a:off x="2106661" y="2571472"/>
            <a:ext cx="7723005" cy="184666"/>
          </a:xfrm>
          <a:prstGeom prst="rect">
            <a:avLst/>
          </a:prstGeom>
          <a:noFill/>
        </p:spPr>
        <p:txBody>
          <a:bodyPr wrap="square" lIns="0" tIns="0" rIns="0" bIns="0" rtlCol="0" anchor="ctr">
            <a:spAutoFit/>
          </a:bodyPr>
          <a:lstStyle>
            <a:defPPr>
              <a:defRPr lang="en-US"/>
            </a:defPPr>
            <a:lvl1pPr>
              <a:spcAft>
                <a:spcPts val="600"/>
              </a:spcAft>
              <a:defRPr sz="1100" b="1">
                <a:solidFill>
                  <a:schemeClr val="tx1">
                    <a:lumMod val="50000"/>
                  </a:schemeClr>
                </a:solidFill>
                <a:latin typeface="GE Inspira" charset="0"/>
                <a:ea typeface="GE Inspira" charset="0"/>
                <a:cs typeface="GE Inspira" charset="0"/>
              </a:defRPr>
            </a:lvl1pPr>
          </a:lstStyle>
          <a:p>
            <a:r>
              <a:rPr lang="en-US" sz="1200" b="0" dirty="0"/>
              <a:t>Used data collected from pedestrian and traffic street sensors</a:t>
            </a:r>
            <a:endParaRPr lang="en-GB" sz="1200" b="0" dirty="0"/>
          </a:p>
        </p:txBody>
      </p:sp>
      <p:grpSp>
        <p:nvGrpSpPr>
          <p:cNvPr id="98" name="Group 97"/>
          <p:cNvGrpSpPr/>
          <p:nvPr/>
        </p:nvGrpSpPr>
        <p:grpSpPr>
          <a:xfrm>
            <a:off x="439836" y="2962484"/>
            <a:ext cx="1303544" cy="632481"/>
            <a:chOff x="441809" y="2626826"/>
            <a:chExt cx="1303544" cy="632481"/>
          </a:xfrm>
        </p:grpSpPr>
        <p:sp>
          <p:nvSpPr>
            <p:cNvPr id="99"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Pedestrian Clusters</a:t>
              </a:r>
              <a:endParaRPr lang="de-DE" sz="1200" dirty="0">
                <a:solidFill>
                  <a:schemeClr val="tx1">
                    <a:lumMod val="50000"/>
                  </a:schemeClr>
                </a:solidFill>
                <a:latin typeface="GE Inspira" charset="0"/>
                <a:ea typeface="GE Inspira" charset="0"/>
                <a:cs typeface="GE Inspira" charset="0"/>
              </a:endParaRPr>
            </a:p>
          </p:txBody>
        </p:sp>
        <p:sp>
          <p:nvSpPr>
            <p:cNvPr id="103"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27" name="TextBox 126"/>
          <p:cNvSpPr txBox="1"/>
          <p:nvPr/>
        </p:nvSpPr>
        <p:spPr>
          <a:xfrm>
            <a:off x="2106661" y="3137716"/>
            <a:ext cx="7965142"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US" sz="1200" dirty="0"/>
              <a:t>Used a K-Means machine learning model to cluster pedestrians and vehicles by their respective counts and directions</a:t>
            </a:r>
            <a:endParaRPr lang="en-GB" sz="1200" dirty="0"/>
          </a:p>
        </p:txBody>
      </p:sp>
      <p:grpSp>
        <p:nvGrpSpPr>
          <p:cNvPr id="104" name="Group 103"/>
          <p:cNvGrpSpPr/>
          <p:nvPr/>
        </p:nvGrpSpPr>
        <p:grpSpPr>
          <a:xfrm>
            <a:off x="439836" y="3535747"/>
            <a:ext cx="1303544" cy="632481"/>
            <a:chOff x="441809" y="2626826"/>
            <a:chExt cx="1303544" cy="632481"/>
          </a:xfrm>
        </p:grpSpPr>
        <p:sp>
          <p:nvSpPr>
            <p:cNvPr id="105"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Smart City </a:t>
              </a:r>
              <a:r>
                <a:rPr lang="de-DE" sz="1200" dirty="0" err="1" smtClean="0">
                  <a:solidFill>
                    <a:schemeClr val="tx1">
                      <a:lumMod val="50000"/>
                    </a:schemeClr>
                  </a:solidFill>
                  <a:latin typeface="GE Inspira" charset="0"/>
                  <a:ea typeface="GE Inspira" charset="0"/>
                  <a:cs typeface="GE Inspira" charset="0"/>
                </a:rPr>
                <a:t>Planning</a:t>
              </a:r>
              <a:endParaRPr lang="de-DE" sz="1200" dirty="0">
                <a:solidFill>
                  <a:schemeClr val="tx1">
                    <a:lumMod val="50000"/>
                  </a:schemeClr>
                </a:solidFill>
                <a:latin typeface="GE Inspira" charset="0"/>
                <a:ea typeface="GE Inspira" charset="0"/>
                <a:cs typeface="GE Inspira" charset="0"/>
              </a:endParaRPr>
            </a:p>
          </p:txBody>
        </p:sp>
        <p:sp>
          <p:nvSpPr>
            <p:cNvPr id="106"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28" name="TextBox 127"/>
          <p:cNvSpPr txBox="1"/>
          <p:nvPr/>
        </p:nvSpPr>
        <p:spPr>
          <a:xfrm>
            <a:off x="2106661" y="3711205"/>
            <a:ext cx="7723005"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US" sz="1200" dirty="0"/>
              <a:t>Give construction </a:t>
            </a:r>
            <a:r>
              <a:rPr lang="en-US" sz="1200" dirty="0" smtClean="0"/>
              <a:t>firm</a:t>
            </a:r>
            <a:r>
              <a:rPr lang="en-US" sz="1200" dirty="0"/>
              <a:t>s</a:t>
            </a:r>
            <a:r>
              <a:rPr lang="en-US" sz="1200" dirty="0" smtClean="0"/>
              <a:t> </a:t>
            </a:r>
            <a:r>
              <a:rPr lang="en-US" sz="1200" dirty="0"/>
              <a:t>smart suggestions to construct at optimal times based on pedestrian and vehicle traffic data</a:t>
            </a:r>
            <a:endParaRPr lang="en-GB" sz="1200" dirty="0"/>
          </a:p>
        </p:txBody>
      </p:sp>
      <p:grpSp>
        <p:nvGrpSpPr>
          <p:cNvPr id="107" name="Group 106"/>
          <p:cNvGrpSpPr/>
          <p:nvPr/>
        </p:nvGrpSpPr>
        <p:grpSpPr>
          <a:xfrm>
            <a:off x="439836" y="4109010"/>
            <a:ext cx="1303544" cy="632481"/>
            <a:chOff x="441809" y="2626826"/>
            <a:chExt cx="1303544" cy="632481"/>
          </a:xfrm>
        </p:grpSpPr>
        <p:sp>
          <p:nvSpPr>
            <p:cNvPr id="108"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Pedestrian Safety</a:t>
              </a:r>
              <a:endParaRPr lang="de-DE" sz="1200" dirty="0">
                <a:solidFill>
                  <a:schemeClr val="tx1">
                    <a:lumMod val="50000"/>
                  </a:schemeClr>
                </a:solidFill>
                <a:latin typeface="GE Inspira" charset="0"/>
                <a:ea typeface="GE Inspira" charset="0"/>
                <a:cs typeface="GE Inspira" charset="0"/>
              </a:endParaRPr>
            </a:p>
          </p:txBody>
        </p:sp>
        <p:sp>
          <p:nvSpPr>
            <p:cNvPr id="109"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grpSp>
        <p:nvGrpSpPr>
          <p:cNvPr id="110" name="Group 109"/>
          <p:cNvGrpSpPr/>
          <p:nvPr/>
        </p:nvGrpSpPr>
        <p:grpSpPr>
          <a:xfrm>
            <a:off x="439836" y="4682273"/>
            <a:ext cx="1303544" cy="632481"/>
            <a:chOff x="441809" y="2626826"/>
            <a:chExt cx="1303544" cy="632481"/>
          </a:xfrm>
        </p:grpSpPr>
        <p:sp>
          <p:nvSpPr>
            <p:cNvPr id="111"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Traffic congestion</a:t>
              </a:r>
              <a:endParaRPr lang="de-DE" sz="1200" dirty="0">
                <a:solidFill>
                  <a:schemeClr val="tx1">
                    <a:lumMod val="50000"/>
                  </a:schemeClr>
                </a:solidFill>
                <a:latin typeface="GE Inspira" charset="0"/>
                <a:ea typeface="GE Inspira" charset="0"/>
                <a:cs typeface="GE Inspira" charset="0"/>
              </a:endParaRPr>
            </a:p>
          </p:txBody>
        </p:sp>
        <p:sp>
          <p:nvSpPr>
            <p:cNvPr id="112"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30" name="TextBox 129"/>
          <p:cNvSpPr txBox="1"/>
          <p:nvPr/>
        </p:nvSpPr>
        <p:spPr>
          <a:xfrm>
            <a:off x="2106662" y="4821480"/>
            <a:ext cx="8426076"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US" sz="1200" dirty="0"/>
              <a:t>Decrease car accidents resulting from construction by giving users the ability to monitor vehicle flow data resulting from clustering</a:t>
            </a:r>
            <a:endParaRPr lang="en-GB" sz="1200" dirty="0"/>
          </a:p>
        </p:txBody>
      </p:sp>
      <p:grpSp>
        <p:nvGrpSpPr>
          <p:cNvPr id="19" name="Group 18"/>
          <p:cNvGrpSpPr/>
          <p:nvPr/>
        </p:nvGrpSpPr>
        <p:grpSpPr>
          <a:xfrm>
            <a:off x="3852391" y="6566016"/>
            <a:ext cx="4487218" cy="184666"/>
            <a:chOff x="2251257" y="6566016"/>
            <a:chExt cx="4487218" cy="184666"/>
          </a:xfrm>
        </p:grpSpPr>
        <p:sp>
          <p:nvSpPr>
            <p:cNvPr id="134" name="Oval 133"/>
            <p:cNvSpPr/>
            <p:nvPr/>
          </p:nvSpPr>
          <p:spPr>
            <a:xfrm>
              <a:off x="3468527" y="6567387"/>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TextBox 134"/>
            <p:cNvSpPr txBox="1"/>
            <p:nvPr/>
          </p:nvSpPr>
          <p:spPr>
            <a:xfrm>
              <a:off x="3747778" y="6566016"/>
              <a:ext cx="779125" cy="184666"/>
            </a:xfrm>
            <a:prstGeom prst="rect">
              <a:avLst/>
            </a:prstGeom>
            <a:noFill/>
          </p:spPr>
          <p:txBody>
            <a:bodyPr wrap="square" lIns="0" tIns="0" rIns="0" bIns="0" rtlCol="0">
              <a:spAutoFit/>
            </a:bodyPr>
            <a:lstStyle/>
            <a:p>
              <a:r>
                <a:rPr lang="en-US" sz="1200" dirty="0" smtClean="0">
                  <a:solidFill>
                    <a:schemeClr val="accent2"/>
                  </a:solidFill>
                </a:rPr>
                <a:t>High</a:t>
              </a:r>
              <a:endParaRPr lang="en-US" sz="1200" dirty="0">
                <a:solidFill>
                  <a:schemeClr val="accent2"/>
                </a:solidFill>
              </a:endParaRPr>
            </a:p>
          </p:txBody>
        </p:sp>
        <p:sp>
          <p:nvSpPr>
            <p:cNvPr id="136" name="Oval 135"/>
            <p:cNvSpPr/>
            <p:nvPr/>
          </p:nvSpPr>
          <p:spPr>
            <a:xfrm>
              <a:off x="5680099" y="6567387"/>
              <a:ext cx="184532" cy="1819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p:cNvSpPr txBox="1"/>
            <p:nvPr/>
          </p:nvSpPr>
          <p:spPr>
            <a:xfrm>
              <a:off x="5959350" y="6566016"/>
              <a:ext cx="779125" cy="184666"/>
            </a:xfrm>
            <a:prstGeom prst="rect">
              <a:avLst/>
            </a:prstGeom>
            <a:noFill/>
          </p:spPr>
          <p:txBody>
            <a:bodyPr wrap="square" lIns="0" tIns="0" rIns="0" bIns="0" rtlCol="0">
              <a:spAutoFit/>
            </a:bodyPr>
            <a:lstStyle/>
            <a:p>
              <a:r>
                <a:rPr lang="en-US" sz="1200" dirty="0" smtClean="0">
                  <a:solidFill>
                    <a:schemeClr val="accent2"/>
                  </a:solidFill>
                </a:rPr>
                <a:t>Low</a:t>
              </a:r>
              <a:endParaRPr lang="en-US" sz="1200" dirty="0">
                <a:solidFill>
                  <a:schemeClr val="accent2"/>
                </a:solidFill>
              </a:endParaRPr>
            </a:p>
          </p:txBody>
        </p:sp>
        <p:sp>
          <p:nvSpPr>
            <p:cNvPr id="138" name="Oval 137"/>
            <p:cNvSpPr/>
            <p:nvPr/>
          </p:nvSpPr>
          <p:spPr>
            <a:xfrm>
              <a:off x="4558801" y="6567387"/>
              <a:ext cx="184532" cy="18192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TextBox 138"/>
            <p:cNvSpPr txBox="1"/>
            <p:nvPr/>
          </p:nvSpPr>
          <p:spPr>
            <a:xfrm>
              <a:off x="4838052" y="6566016"/>
              <a:ext cx="779125" cy="184666"/>
            </a:xfrm>
            <a:prstGeom prst="rect">
              <a:avLst/>
            </a:prstGeom>
            <a:noFill/>
          </p:spPr>
          <p:txBody>
            <a:bodyPr wrap="square" lIns="0" tIns="0" rIns="0" bIns="0" rtlCol="0">
              <a:spAutoFit/>
            </a:bodyPr>
            <a:lstStyle/>
            <a:p>
              <a:r>
                <a:rPr lang="en-US" sz="1200" dirty="0">
                  <a:solidFill>
                    <a:schemeClr val="accent2"/>
                  </a:solidFill>
                </a:rPr>
                <a:t>Medium</a:t>
              </a:r>
            </a:p>
          </p:txBody>
        </p:sp>
        <p:sp>
          <p:nvSpPr>
            <p:cNvPr id="144" name="Oval 143"/>
            <p:cNvSpPr/>
            <p:nvPr/>
          </p:nvSpPr>
          <p:spPr>
            <a:xfrm>
              <a:off x="2251257" y="6567387"/>
              <a:ext cx="184532" cy="18192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TextBox 144"/>
            <p:cNvSpPr txBox="1"/>
            <p:nvPr/>
          </p:nvSpPr>
          <p:spPr>
            <a:xfrm>
              <a:off x="2449232" y="6566016"/>
              <a:ext cx="779125" cy="184666"/>
            </a:xfrm>
            <a:prstGeom prst="rect">
              <a:avLst/>
            </a:prstGeom>
            <a:noFill/>
          </p:spPr>
          <p:txBody>
            <a:bodyPr wrap="square" lIns="0" tIns="0" rIns="0" bIns="0" rtlCol="0">
              <a:spAutoFit/>
            </a:bodyPr>
            <a:lstStyle/>
            <a:p>
              <a:r>
                <a:rPr lang="en-US" sz="1200" dirty="0">
                  <a:solidFill>
                    <a:schemeClr val="accent2"/>
                  </a:solidFill>
                </a:rPr>
                <a:t>TBD</a:t>
              </a:r>
            </a:p>
          </p:txBody>
        </p:sp>
      </p:grpSp>
      <p:sp>
        <p:nvSpPr>
          <p:cNvPr id="149" name="Oval 148"/>
          <p:cNvSpPr/>
          <p:nvPr/>
        </p:nvSpPr>
        <p:spPr>
          <a:xfrm>
            <a:off x="11100628" y="1922669"/>
            <a:ext cx="184532" cy="19472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p:cNvSpPr/>
          <p:nvPr/>
        </p:nvSpPr>
        <p:spPr>
          <a:xfrm>
            <a:off x="11099028" y="2574546"/>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8" name="Straight Connector 177"/>
          <p:cNvCxnSpPr/>
          <p:nvPr/>
        </p:nvCxnSpPr>
        <p:spPr>
          <a:xfrm flipV="1">
            <a:off x="2042177" y="2307571"/>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79" name="Straight Connector 178"/>
          <p:cNvCxnSpPr/>
          <p:nvPr/>
        </p:nvCxnSpPr>
        <p:spPr>
          <a:xfrm flipV="1">
            <a:off x="2042177" y="2930619"/>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80" name="Straight Connector 179"/>
          <p:cNvCxnSpPr/>
          <p:nvPr/>
        </p:nvCxnSpPr>
        <p:spPr>
          <a:xfrm flipV="1">
            <a:off x="2042177" y="3461620"/>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81" name="Straight Connector 180"/>
          <p:cNvCxnSpPr/>
          <p:nvPr/>
        </p:nvCxnSpPr>
        <p:spPr>
          <a:xfrm flipV="1">
            <a:off x="2042177" y="4032433"/>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82" name="Straight Connector 181"/>
          <p:cNvCxnSpPr/>
          <p:nvPr/>
        </p:nvCxnSpPr>
        <p:spPr>
          <a:xfrm flipV="1">
            <a:off x="2042177" y="4604144"/>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sp>
        <p:nvSpPr>
          <p:cNvPr id="84" name="TextBox 83"/>
          <p:cNvSpPr txBox="1"/>
          <p:nvPr/>
        </p:nvSpPr>
        <p:spPr>
          <a:xfrm>
            <a:off x="2106661" y="4289307"/>
            <a:ext cx="7723005"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US" sz="1200" dirty="0"/>
              <a:t>Increase pedestrian safety by giving users the ability to monitor pedestrian flow data resulting from clustering</a:t>
            </a:r>
            <a:endParaRPr lang="en-GB" sz="1200" dirty="0"/>
          </a:p>
        </p:txBody>
      </p:sp>
      <p:sp>
        <p:nvSpPr>
          <p:cNvPr id="86" name="Title 2"/>
          <p:cNvSpPr txBox="1">
            <a:spLocks/>
          </p:cNvSpPr>
          <p:nvPr/>
        </p:nvSpPr>
        <p:spPr>
          <a:xfrm>
            <a:off x="533400" y="222086"/>
            <a:ext cx="10870550" cy="914400"/>
          </a:xfrm>
          <a:prstGeom prst="rect">
            <a:avLst/>
          </a:prstGeom>
        </p:spPr>
        <p:txBody>
          <a:bodyPr vert="horz" lIns="0" tIns="0" rIns="0" bIns="0" rtlCol="0" anchor="ctr" anchorCtr="0">
            <a:noAutofit/>
          </a:bodyPr>
          <a:lstStyle>
            <a:lvl1pPr>
              <a:lnSpc>
                <a:spcPct val="90000"/>
              </a:lnSpc>
              <a:spcBef>
                <a:spcPct val="0"/>
              </a:spcBef>
              <a:buNone/>
              <a:defRPr sz="3600">
                <a:solidFill>
                  <a:schemeClr val="accent2"/>
                </a:solidFill>
                <a:latin typeface="+mj-lt"/>
                <a:ea typeface="+mj-ea"/>
                <a:cs typeface="+mj-cs"/>
              </a:defRPr>
            </a:lvl1pPr>
          </a:lstStyle>
          <a:p>
            <a:r>
              <a:rPr lang="en-US" dirty="0" smtClean="0"/>
              <a:t>Current Vision </a:t>
            </a:r>
            <a:r>
              <a:rPr lang="en-US" dirty="0"/>
              <a:t>| </a:t>
            </a:r>
            <a:r>
              <a:rPr lang="en-US" dirty="0" smtClean="0"/>
              <a:t>Implementation Plan and Risks</a:t>
            </a:r>
            <a:endParaRPr lang="en-US" dirty="0"/>
          </a:p>
        </p:txBody>
      </p:sp>
      <p:sp>
        <p:nvSpPr>
          <p:cNvPr id="78" name="Oval 77"/>
          <p:cNvSpPr/>
          <p:nvPr/>
        </p:nvSpPr>
        <p:spPr>
          <a:xfrm>
            <a:off x="11099028" y="3135414"/>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2284571" y="6549734"/>
            <a:ext cx="1308109" cy="215444"/>
          </a:xfrm>
          <a:prstGeom prst="rect">
            <a:avLst/>
          </a:prstGeom>
          <a:noFill/>
        </p:spPr>
        <p:txBody>
          <a:bodyPr wrap="square" lIns="0" tIns="0" rIns="0" bIns="0" rtlCol="0">
            <a:spAutoFit/>
          </a:bodyPr>
          <a:lstStyle/>
          <a:p>
            <a:pPr algn="ctr"/>
            <a:r>
              <a:rPr lang="en-US" sz="1400" smtClean="0">
                <a:solidFill>
                  <a:schemeClr val="accent2"/>
                </a:solidFill>
              </a:rPr>
              <a:t>Confidence:</a:t>
            </a:r>
            <a:endParaRPr lang="en-US" sz="1400" dirty="0" smtClean="0">
              <a:solidFill>
                <a:schemeClr val="accent2"/>
              </a:solidFill>
            </a:endParaRPr>
          </a:p>
        </p:txBody>
      </p:sp>
      <p:sp>
        <p:nvSpPr>
          <p:cNvPr id="76" name="Oval 75"/>
          <p:cNvSpPr/>
          <p:nvPr/>
        </p:nvSpPr>
        <p:spPr>
          <a:xfrm>
            <a:off x="11099028" y="3707743"/>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p:cNvSpPr/>
          <p:nvPr/>
        </p:nvSpPr>
        <p:spPr>
          <a:xfrm>
            <a:off x="11099028" y="4287029"/>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p:cNvSpPr/>
          <p:nvPr/>
        </p:nvSpPr>
        <p:spPr>
          <a:xfrm>
            <a:off x="11099028" y="4822851"/>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57223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Autofit/>
          </a:bodyPr>
          <a:lstStyle/>
          <a:p>
            <a:r>
              <a:rPr lang="en-US" dirty="0" smtClean="0"/>
              <a:t>Current Vision </a:t>
            </a:r>
            <a:r>
              <a:rPr lang="en-US" dirty="0"/>
              <a:t>| </a:t>
            </a:r>
            <a:r>
              <a:rPr lang="en-US" dirty="0" smtClean="0"/>
              <a:t>Timeline</a:t>
            </a:r>
            <a:endParaRPr lang="en-US" dirty="0"/>
          </a:p>
        </p:txBody>
      </p:sp>
      <p:sp>
        <p:nvSpPr>
          <p:cNvPr id="83" name="Rectangle 82"/>
          <p:cNvSpPr/>
          <p:nvPr/>
        </p:nvSpPr>
        <p:spPr>
          <a:xfrm>
            <a:off x="157018" y="1202900"/>
            <a:ext cx="11831782" cy="3950014"/>
          </a:xfrm>
          <a:prstGeom prst="rect">
            <a:avLst/>
          </a:prstGeom>
          <a:noFill/>
          <a:ln w="6350">
            <a:solidFill>
              <a:schemeClr val="tx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u="sng" dirty="0">
              <a:solidFill>
                <a:schemeClr val="tx1"/>
              </a:solidFill>
              <a:latin typeface="GE Inspira Pitch" charset="0"/>
              <a:ea typeface="GE Inspira Pitch" charset="0"/>
              <a:cs typeface="GE Inspira Pitch" charset="0"/>
            </a:endParaRPr>
          </a:p>
        </p:txBody>
      </p:sp>
      <p:grpSp>
        <p:nvGrpSpPr>
          <p:cNvPr id="14" name="Group 13"/>
          <p:cNvGrpSpPr/>
          <p:nvPr/>
        </p:nvGrpSpPr>
        <p:grpSpPr>
          <a:xfrm>
            <a:off x="316088" y="3183923"/>
            <a:ext cx="9646290" cy="523220"/>
            <a:chOff x="316088" y="3522299"/>
            <a:chExt cx="9646314" cy="523220"/>
          </a:xfrm>
        </p:grpSpPr>
        <p:sp>
          <p:nvSpPr>
            <p:cNvPr id="123" name="Text Box 1059" descr="Text Box 1059"/>
            <p:cNvSpPr txBox="1">
              <a:spLocks noChangeArrowheads="1"/>
            </p:cNvSpPr>
            <p:nvPr/>
          </p:nvSpPr>
          <p:spPr bwMode="gray">
            <a:xfrm>
              <a:off x="316088" y="3522299"/>
              <a:ext cx="27832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Implement Pedestrian safety and smart city protocols</a:t>
              </a:r>
              <a:endParaRPr lang="en-US" sz="1400" dirty="0">
                <a:latin typeface="GE Inspira Pitch" charset="0"/>
                <a:ea typeface="GE Inspira Pitch" charset="0"/>
                <a:cs typeface="GE Inspira Pitch" charset="0"/>
              </a:endParaRPr>
            </a:p>
          </p:txBody>
        </p:sp>
        <p:sp>
          <p:nvSpPr>
            <p:cNvPr id="124" name="Rounded Rectangle 123"/>
            <p:cNvSpPr/>
            <p:nvPr/>
          </p:nvSpPr>
          <p:spPr>
            <a:xfrm>
              <a:off x="8109151" y="3653251"/>
              <a:ext cx="1853251" cy="256666"/>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0" name="Group 9"/>
          <p:cNvGrpSpPr/>
          <p:nvPr/>
        </p:nvGrpSpPr>
        <p:grpSpPr>
          <a:xfrm>
            <a:off x="316087" y="1742868"/>
            <a:ext cx="9566380" cy="307777"/>
            <a:chOff x="316087" y="1866145"/>
            <a:chExt cx="4958089" cy="307777"/>
          </a:xfrm>
        </p:grpSpPr>
        <p:sp>
          <p:nvSpPr>
            <p:cNvPr id="92" name="Text Box 1059" descr="Text Box 1059"/>
            <p:cNvSpPr txBox="1">
              <a:spLocks noChangeArrowheads="1"/>
            </p:cNvSpPr>
            <p:nvPr/>
          </p:nvSpPr>
          <p:spPr bwMode="gray">
            <a:xfrm>
              <a:off x="316087" y="1866145"/>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Setup Environment for APIs</a:t>
              </a:r>
              <a:endParaRPr lang="en-US" sz="1400" dirty="0">
                <a:latin typeface="GE Inspira Pitch" charset="0"/>
                <a:ea typeface="GE Inspira Pitch" charset="0"/>
                <a:cs typeface="GE Inspira Pitch" charset="0"/>
              </a:endParaRPr>
            </a:p>
          </p:txBody>
        </p:sp>
        <p:sp>
          <p:nvSpPr>
            <p:cNvPr id="122" name="Rounded Rectangle 121"/>
            <p:cNvSpPr/>
            <p:nvPr/>
          </p:nvSpPr>
          <p:spPr>
            <a:xfrm>
              <a:off x="3724731" y="1881068"/>
              <a:ext cx="351797" cy="269980"/>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sp>
        <p:nvSpPr>
          <p:cNvPr id="95" name="TextBox 94"/>
          <p:cNvSpPr txBox="1"/>
          <p:nvPr/>
        </p:nvSpPr>
        <p:spPr>
          <a:xfrm>
            <a:off x="4135915" y="934366"/>
            <a:ext cx="536355" cy="368032"/>
          </a:xfrm>
          <a:prstGeom prst="rect">
            <a:avLst/>
          </a:prstGeom>
          <a:noFill/>
        </p:spPr>
        <p:txBody>
          <a:bodyPr wrap="none" rtlCol="0">
            <a:noAutofit/>
          </a:bodyPr>
          <a:lstStyle/>
          <a:p>
            <a:pPr algn="ctr"/>
            <a:r>
              <a:rPr lang="en-US" sz="1400" b="1" dirty="0">
                <a:solidFill>
                  <a:schemeClr val="tx1">
                    <a:lumMod val="65000"/>
                    <a:lumOff val="35000"/>
                  </a:schemeClr>
                </a:solidFill>
                <a:latin typeface="GE Inspira Pitch" charset="0"/>
                <a:ea typeface="GE Inspira Pitch" charset="0"/>
                <a:cs typeface="GE Inspira Pitch" charset="0"/>
              </a:rPr>
              <a:t> </a:t>
            </a:r>
            <a:r>
              <a:rPr lang="en-US" sz="1400" b="1" dirty="0" smtClean="0">
                <a:solidFill>
                  <a:schemeClr val="tx1">
                    <a:lumMod val="65000"/>
                    <a:lumOff val="35000"/>
                  </a:schemeClr>
                </a:solidFill>
                <a:latin typeface="GE Inspira Pitch" charset="0"/>
                <a:ea typeface="GE Inspira Pitch" charset="0"/>
                <a:cs typeface="GE Inspira Pitch" charset="0"/>
              </a:rPr>
              <a:t>June 26 </a:t>
            </a:r>
            <a:endParaRPr lang="en-US" sz="1400" b="1" dirty="0">
              <a:solidFill>
                <a:schemeClr val="tx1">
                  <a:lumMod val="65000"/>
                  <a:lumOff val="35000"/>
                </a:schemeClr>
              </a:solidFill>
              <a:latin typeface="GE Inspira Pitch" charset="0"/>
              <a:ea typeface="GE Inspira Pitch" charset="0"/>
              <a:cs typeface="GE Inspira Pitch" charset="0"/>
            </a:endParaRPr>
          </a:p>
        </p:txBody>
      </p:sp>
      <p:sp>
        <p:nvSpPr>
          <p:cNvPr id="99" name="TextBox 98"/>
          <p:cNvSpPr txBox="1"/>
          <p:nvPr/>
        </p:nvSpPr>
        <p:spPr>
          <a:xfrm>
            <a:off x="5518834" y="933146"/>
            <a:ext cx="366394" cy="353734"/>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3</a:t>
            </a:r>
            <a:endParaRPr lang="en-US" sz="1400" b="1" dirty="0">
              <a:solidFill>
                <a:schemeClr val="tx1">
                  <a:lumMod val="65000"/>
                  <a:lumOff val="35000"/>
                </a:schemeClr>
              </a:solidFill>
              <a:latin typeface="GE Inspira Pitch" charset="0"/>
              <a:ea typeface="GE Inspira Pitch" charset="0"/>
              <a:cs typeface="GE Inspira Pitch" charset="0"/>
            </a:endParaRPr>
          </a:p>
        </p:txBody>
      </p:sp>
      <p:sp>
        <p:nvSpPr>
          <p:cNvPr id="101" name="TextBox 100"/>
          <p:cNvSpPr txBox="1"/>
          <p:nvPr/>
        </p:nvSpPr>
        <p:spPr>
          <a:xfrm>
            <a:off x="6698612" y="932718"/>
            <a:ext cx="366394" cy="229326"/>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10</a:t>
            </a:r>
            <a:endParaRPr lang="en-US" sz="1400" b="1" dirty="0">
              <a:solidFill>
                <a:schemeClr val="tx1">
                  <a:lumMod val="65000"/>
                  <a:lumOff val="35000"/>
                </a:schemeClr>
              </a:solidFill>
              <a:latin typeface="GE Inspira Pitch" charset="0"/>
              <a:ea typeface="GE Inspira Pitch" charset="0"/>
              <a:cs typeface="GE Inspira Pitch" charset="0"/>
            </a:endParaRPr>
          </a:p>
        </p:txBody>
      </p:sp>
      <p:sp>
        <p:nvSpPr>
          <p:cNvPr id="103" name="TextBox 102"/>
          <p:cNvSpPr txBox="1"/>
          <p:nvPr/>
        </p:nvSpPr>
        <p:spPr>
          <a:xfrm>
            <a:off x="9151413" y="932802"/>
            <a:ext cx="366394" cy="229326"/>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24</a:t>
            </a:r>
            <a:endParaRPr lang="en-US" sz="1400" b="1" dirty="0">
              <a:solidFill>
                <a:schemeClr val="tx1">
                  <a:lumMod val="65000"/>
                  <a:lumOff val="35000"/>
                </a:schemeClr>
              </a:solidFill>
              <a:latin typeface="GE Inspira Pitch" charset="0"/>
              <a:ea typeface="GE Inspira Pitch" charset="0"/>
              <a:cs typeface="GE Inspira Pitch" charset="0"/>
            </a:endParaRPr>
          </a:p>
        </p:txBody>
      </p:sp>
      <p:grpSp>
        <p:nvGrpSpPr>
          <p:cNvPr id="15" name="Group 14"/>
          <p:cNvGrpSpPr/>
          <p:nvPr/>
        </p:nvGrpSpPr>
        <p:grpSpPr>
          <a:xfrm>
            <a:off x="311952" y="3677788"/>
            <a:ext cx="11612880" cy="307777"/>
            <a:chOff x="311952" y="4075685"/>
            <a:chExt cx="11612880" cy="307777"/>
          </a:xfrm>
        </p:grpSpPr>
        <p:sp>
          <p:nvSpPr>
            <p:cNvPr id="85" name="Rounded Rectangle 84"/>
            <p:cNvSpPr/>
            <p:nvPr/>
          </p:nvSpPr>
          <p:spPr>
            <a:xfrm>
              <a:off x="311952" y="4092413"/>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108" name="Text Box 1059" descr="Text Box 1059"/>
            <p:cNvSpPr txBox="1">
              <a:spLocks noChangeArrowheads="1"/>
            </p:cNvSpPr>
            <p:nvPr/>
          </p:nvSpPr>
          <p:spPr bwMode="gray">
            <a:xfrm>
              <a:off x="316087" y="4075685"/>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Implement User Interface</a:t>
              </a:r>
              <a:endParaRPr lang="en-US" sz="1400" dirty="0">
                <a:latin typeface="GE Inspira Pitch" charset="0"/>
                <a:ea typeface="GE Inspira Pitch" charset="0"/>
                <a:cs typeface="GE Inspira Pitch" charset="0"/>
              </a:endParaRPr>
            </a:p>
          </p:txBody>
        </p:sp>
        <p:sp>
          <p:nvSpPr>
            <p:cNvPr id="109" name="Rounded Rectangle 108"/>
            <p:cNvSpPr/>
            <p:nvPr/>
          </p:nvSpPr>
          <p:spPr>
            <a:xfrm>
              <a:off x="8721881" y="4078792"/>
              <a:ext cx="1842049" cy="302510"/>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1" name="Group 10"/>
          <p:cNvGrpSpPr/>
          <p:nvPr/>
        </p:nvGrpSpPr>
        <p:grpSpPr>
          <a:xfrm>
            <a:off x="311952" y="2130412"/>
            <a:ext cx="11612880" cy="307777"/>
            <a:chOff x="311952" y="2311105"/>
            <a:chExt cx="11612880" cy="307777"/>
          </a:xfrm>
        </p:grpSpPr>
        <p:sp>
          <p:nvSpPr>
            <p:cNvPr id="87" name="Rounded Rectangle 86"/>
            <p:cNvSpPr/>
            <p:nvPr/>
          </p:nvSpPr>
          <p:spPr>
            <a:xfrm>
              <a:off x="311952" y="2327833"/>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110" name="Text Box 1059" descr="Text Box 1059"/>
            <p:cNvSpPr txBox="1">
              <a:spLocks noChangeArrowheads="1"/>
            </p:cNvSpPr>
            <p:nvPr/>
          </p:nvSpPr>
          <p:spPr bwMode="gray">
            <a:xfrm>
              <a:off x="316087" y="2311105"/>
              <a:ext cx="56945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Start collecting data from GE Current APIs</a:t>
              </a:r>
              <a:endParaRPr lang="en-US" sz="1400" dirty="0">
                <a:latin typeface="GE Inspira Pitch" charset="0"/>
                <a:ea typeface="GE Inspira Pitch" charset="0"/>
                <a:cs typeface="GE Inspira Pitch" charset="0"/>
              </a:endParaRPr>
            </a:p>
          </p:txBody>
        </p:sp>
        <p:sp>
          <p:nvSpPr>
            <p:cNvPr id="111" name="Rounded Rectangle 110"/>
            <p:cNvSpPr/>
            <p:nvPr/>
          </p:nvSpPr>
          <p:spPr>
            <a:xfrm>
              <a:off x="6892891" y="2335617"/>
              <a:ext cx="1209757" cy="266536"/>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3" name="Group 12"/>
          <p:cNvGrpSpPr/>
          <p:nvPr/>
        </p:nvGrpSpPr>
        <p:grpSpPr>
          <a:xfrm>
            <a:off x="311952" y="2905500"/>
            <a:ext cx="11612880" cy="307777"/>
            <a:chOff x="311952" y="3196531"/>
            <a:chExt cx="11612880" cy="307777"/>
          </a:xfrm>
        </p:grpSpPr>
        <p:sp>
          <p:nvSpPr>
            <p:cNvPr id="88" name="Rounded Rectangle 87"/>
            <p:cNvSpPr/>
            <p:nvPr/>
          </p:nvSpPr>
          <p:spPr>
            <a:xfrm>
              <a:off x="311952" y="3213259"/>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112" name="Text Box 1059" descr="Text Box 1059"/>
            <p:cNvSpPr txBox="1">
              <a:spLocks noChangeArrowheads="1"/>
            </p:cNvSpPr>
            <p:nvPr/>
          </p:nvSpPr>
          <p:spPr bwMode="gray">
            <a:xfrm>
              <a:off x="316087" y="3196531"/>
              <a:ext cx="51038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Implement Construction location helper tool</a:t>
              </a:r>
              <a:endParaRPr lang="en-US" sz="1400" dirty="0">
                <a:latin typeface="GE Inspira Pitch" charset="0"/>
                <a:ea typeface="GE Inspira Pitch" charset="0"/>
                <a:cs typeface="GE Inspira Pitch" charset="0"/>
              </a:endParaRPr>
            </a:p>
          </p:txBody>
        </p:sp>
        <p:sp>
          <p:nvSpPr>
            <p:cNvPr id="113" name="Rounded Rectangle 112"/>
            <p:cNvSpPr/>
            <p:nvPr/>
          </p:nvSpPr>
          <p:spPr>
            <a:xfrm>
              <a:off x="8111307" y="3214163"/>
              <a:ext cx="1233672" cy="259795"/>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2" name="Group 11"/>
          <p:cNvGrpSpPr/>
          <p:nvPr/>
        </p:nvGrpSpPr>
        <p:grpSpPr>
          <a:xfrm>
            <a:off x="316087" y="2517956"/>
            <a:ext cx="9028892" cy="307777"/>
            <a:chOff x="316087" y="2757316"/>
            <a:chExt cx="6608130" cy="307777"/>
          </a:xfrm>
        </p:grpSpPr>
        <p:sp>
          <p:nvSpPr>
            <p:cNvPr id="114" name="Text Box 1059" descr="Text Box 1059"/>
            <p:cNvSpPr txBox="1">
              <a:spLocks noChangeArrowheads="1"/>
            </p:cNvSpPr>
            <p:nvPr/>
          </p:nvSpPr>
          <p:spPr bwMode="gray">
            <a:xfrm>
              <a:off x="316087" y="2757316"/>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Implement Map View</a:t>
              </a:r>
              <a:endParaRPr lang="en-US" sz="1400" dirty="0">
                <a:latin typeface="GE Inspira Pitch" charset="0"/>
                <a:ea typeface="GE Inspira Pitch" charset="0"/>
                <a:cs typeface="GE Inspira Pitch" charset="0"/>
              </a:endParaRPr>
            </a:p>
          </p:txBody>
        </p:sp>
        <p:sp>
          <p:nvSpPr>
            <p:cNvPr id="115" name="Rounded Rectangle 114"/>
            <p:cNvSpPr/>
            <p:nvPr/>
          </p:nvSpPr>
          <p:spPr>
            <a:xfrm>
              <a:off x="6024494" y="2784555"/>
              <a:ext cx="899723" cy="262883"/>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sp>
        <p:nvSpPr>
          <p:cNvPr id="116" name="TextBox 115"/>
          <p:cNvSpPr txBox="1"/>
          <p:nvPr/>
        </p:nvSpPr>
        <p:spPr>
          <a:xfrm>
            <a:off x="7929021" y="932718"/>
            <a:ext cx="366394" cy="229326"/>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17</a:t>
            </a:r>
            <a:endParaRPr lang="en-US" sz="1400" b="1" dirty="0">
              <a:solidFill>
                <a:schemeClr val="tx1">
                  <a:lumMod val="65000"/>
                  <a:lumOff val="35000"/>
                </a:schemeClr>
              </a:solidFill>
              <a:latin typeface="GE Inspira Pitch" charset="0"/>
              <a:ea typeface="GE Inspira Pitch" charset="0"/>
              <a:cs typeface="GE Inspira Pitch" charset="0"/>
            </a:endParaRPr>
          </a:p>
        </p:txBody>
      </p:sp>
      <p:grpSp>
        <p:nvGrpSpPr>
          <p:cNvPr id="9" name="Group 8"/>
          <p:cNvGrpSpPr/>
          <p:nvPr/>
        </p:nvGrpSpPr>
        <p:grpSpPr>
          <a:xfrm>
            <a:off x="311952" y="1355324"/>
            <a:ext cx="11612880" cy="307777"/>
            <a:chOff x="311952" y="1445264"/>
            <a:chExt cx="11612880" cy="307777"/>
          </a:xfrm>
        </p:grpSpPr>
        <p:sp>
          <p:nvSpPr>
            <p:cNvPr id="120" name="Rounded Rectangle 119"/>
            <p:cNvSpPr/>
            <p:nvPr/>
          </p:nvSpPr>
          <p:spPr>
            <a:xfrm>
              <a:off x="311952" y="1461992"/>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121" name="Text Box 1059" descr="Text Box 1059"/>
            <p:cNvSpPr txBox="1">
              <a:spLocks noChangeArrowheads="1"/>
            </p:cNvSpPr>
            <p:nvPr/>
          </p:nvSpPr>
          <p:spPr bwMode="gray">
            <a:xfrm>
              <a:off x="316087" y="1445264"/>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Brainstorming - Identify idea and resources </a:t>
              </a:r>
              <a:endParaRPr lang="en-US" sz="1400" dirty="0">
                <a:latin typeface="GE Inspira Pitch" charset="0"/>
                <a:ea typeface="GE Inspira Pitch" charset="0"/>
                <a:cs typeface="GE Inspira Pitch" charset="0"/>
              </a:endParaRPr>
            </a:p>
          </p:txBody>
        </p:sp>
        <p:sp>
          <p:nvSpPr>
            <p:cNvPr id="118" name="Rounded Rectangle 117"/>
            <p:cNvSpPr/>
            <p:nvPr/>
          </p:nvSpPr>
          <p:spPr>
            <a:xfrm>
              <a:off x="4404151" y="1461992"/>
              <a:ext cx="2466576" cy="254325"/>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sp>
        <p:nvSpPr>
          <p:cNvPr id="48" name="TextBox 47"/>
          <p:cNvSpPr txBox="1"/>
          <p:nvPr/>
        </p:nvSpPr>
        <p:spPr>
          <a:xfrm>
            <a:off x="10392534" y="933180"/>
            <a:ext cx="366394" cy="229326"/>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31</a:t>
            </a:r>
            <a:endParaRPr lang="en-US" sz="1400" b="1" dirty="0">
              <a:solidFill>
                <a:schemeClr val="tx1">
                  <a:lumMod val="65000"/>
                  <a:lumOff val="35000"/>
                </a:schemeClr>
              </a:solidFill>
              <a:latin typeface="GE Inspira Pitch" charset="0"/>
              <a:ea typeface="GE Inspira Pitch" charset="0"/>
              <a:cs typeface="GE Inspira Pitch" charset="0"/>
            </a:endParaRPr>
          </a:p>
        </p:txBody>
      </p:sp>
      <p:sp>
        <p:nvSpPr>
          <p:cNvPr id="49" name="TextBox 48"/>
          <p:cNvSpPr txBox="1"/>
          <p:nvPr/>
        </p:nvSpPr>
        <p:spPr>
          <a:xfrm>
            <a:off x="11614926" y="933146"/>
            <a:ext cx="366394" cy="229326"/>
          </a:xfrm>
          <a:prstGeom prst="rect">
            <a:avLst/>
          </a:prstGeom>
          <a:noFill/>
        </p:spPr>
        <p:txBody>
          <a:bodyPr wrap="none" rtlCol="0">
            <a:noAutofit/>
          </a:bodyPr>
          <a:lstStyle/>
          <a:p>
            <a:pPr algn="ctr"/>
            <a:r>
              <a:rPr lang="en-US" sz="1400" b="1" dirty="0">
                <a:solidFill>
                  <a:schemeClr val="tx1">
                    <a:lumMod val="65000"/>
                    <a:lumOff val="35000"/>
                  </a:schemeClr>
                </a:solidFill>
                <a:latin typeface="GE Inspira Pitch" charset="0"/>
                <a:ea typeface="GE Inspira Pitch" charset="0"/>
                <a:cs typeface="GE Inspira Pitch" charset="0"/>
              </a:rPr>
              <a:t>Aug 7</a:t>
            </a:r>
          </a:p>
        </p:txBody>
      </p:sp>
      <p:grpSp>
        <p:nvGrpSpPr>
          <p:cNvPr id="17" name="Group 16"/>
          <p:cNvGrpSpPr/>
          <p:nvPr/>
        </p:nvGrpSpPr>
        <p:grpSpPr>
          <a:xfrm>
            <a:off x="311952" y="4452876"/>
            <a:ext cx="11612880" cy="318598"/>
            <a:chOff x="311952" y="4827626"/>
            <a:chExt cx="11612880" cy="318598"/>
          </a:xfrm>
        </p:grpSpPr>
        <p:sp>
          <p:nvSpPr>
            <p:cNvPr id="58" name="Rounded Rectangle 57"/>
            <p:cNvSpPr/>
            <p:nvPr/>
          </p:nvSpPr>
          <p:spPr>
            <a:xfrm>
              <a:off x="311952" y="4871904"/>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59" name="Text Box 1059" descr="Text Box 1059"/>
            <p:cNvSpPr txBox="1">
              <a:spLocks noChangeArrowheads="1"/>
            </p:cNvSpPr>
            <p:nvPr/>
          </p:nvSpPr>
          <p:spPr bwMode="gray">
            <a:xfrm>
              <a:off x="316087" y="4827626"/>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Marketing the App</a:t>
              </a:r>
              <a:endParaRPr lang="en-US" sz="1400" dirty="0">
                <a:latin typeface="GE Inspira Pitch" charset="0"/>
                <a:ea typeface="GE Inspira Pitch" charset="0"/>
                <a:cs typeface="GE Inspira Pitch" charset="0"/>
              </a:endParaRPr>
            </a:p>
          </p:txBody>
        </p:sp>
        <p:sp>
          <p:nvSpPr>
            <p:cNvPr id="60" name="Rounded Rectangle 59"/>
            <p:cNvSpPr/>
            <p:nvPr/>
          </p:nvSpPr>
          <p:spPr>
            <a:xfrm>
              <a:off x="9343724" y="4889573"/>
              <a:ext cx="1220206" cy="240870"/>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8" name="Group 17"/>
          <p:cNvGrpSpPr/>
          <p:nvPr/>
        </p:nvGrpSpPr>
        <p:grpSpPr>
          <a:xfrm>
            <a:off x="316087" y="4065332"/>
            <a:ext cx="11485098" cy="307777"/>
            <a:chOff x="316087" y="4418213"/>
            <a:chExt cx="11485098" cy="307777"/>
          </a:xfrm>
        </p:grpSpPr>
        <p:grpSp>
          <p:nvGrpSpPr>
            <p:cNvPr id="16" name="Group 15"/>
            <p:cNvGrpSpPr/>
            <p:nvPr/>
          </p:nvGrpSpPr>
          <p:grpSpPr>
            <a:xfrm>
              <a:off x="316087" y="4418213"/>
              <a:ext cx="10256583" cy="307777"/>
              <a:chOff x="316087" y="4482160"/>
              <a:chExt cx="10256583" cy="307777"/>
            </a:xfrm>
          </p:grpSpPr>
          <p:sp>
            <p:nvSpPr>
              <p:cNvPr id="56" name="Text Box 1059" descr="Text Box 1059"/>
              <p:cNvSpPr txBox="1">
                <a:spLocks noChangeArrowheads="1"/>
              </p:cNvSpPr>
              <p:nvPr/>
            </p:nvSpPr>
            <p:spPr bwMode="gray">
              <a:xfrm>
                <a:off x="316087" y="4482160"/>
                <a:ext cx="64121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Testing</a:t>
                </a:r>
                <a:endParaRPr lang="en-US" sz="1400" dirty="0">
                  <a:latin typeface="GE Inspira Pitch" charset="0"/>
                  <a:ea typeface="GE Inspira Pitch" charset="0"/>
                  <a:cs typeface="GE Inspira Pitch" charset="0"/>
                </a:endParaRPr>
              </a:p>
            </p:txBody>
          </p:sp>
          <p:sp>
            <p:nvSpPr>
              <p:cNvPr id="57" name="Rounded Rectangle 56"/>
              <p:cNvSpPr/>
              <p:nvPr/>
            </p:nvSpPr>
            <p:spPr>
              <a:xfrm>
                <a:off x="9334607" y="4498888"/>
                <a:ext cx="1238063" cy="274320"/>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grpSp>
        <p:sp>
          <p:nvSpPr>
            <p:cNvPr id="67" name="Rounded Rectangle 108"/>
            <p:cNvSpPr/>
            <p:nvPr/>
          </p:nvSpPr>
          <p:spPr>
            <a:xfrm>
              <a:off x="10570434" y="4434941"/>
              <a:ext cx="1230751" cy="274320"/>
            </a:xfrm>
            <a:prstGeom prst="roundRect">
              <a:avLst/>
            </a:prstGeom>
            <a:solidFill>
              <a:srgbClr val="00B0F0"/>
            </a:solidFill>
            <a:ln>
              <a:solidFill>
                <a:schemeClr val="tx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grpSp>
      <p:cxnSp>
        <p:nvCxnSpPr>
          <p:cNvPr id="96" name="Straight Connector 95"/>
          <p:cNvCxnSpPr/>
          <p:nvPr/>
        </p:nvCxnSpPr>
        <p:spPr>
          <a:xfrm>
            <a:off x="4395483" y="1311540"/>
            <a:ext cx="8668"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5635831" y="1311540"/>
            <a:ext cx="12351"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8109154" y="1311540"/>
            <a:ext cx="0"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6879920" y="1311540"/>
            <a:ext cx="3778"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0575731" y="1311540"/>
            <a:ext cx="0"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9334610" y="1345271"/>
            <a:ext cx="10369" cy="353242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1801185" y="1311540"/>
            <a:ext cx="0"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H="1">
            <a:off x="6883154" y="1372052"/>
            <a:ext cx="544" cy="3426973"/>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725882" y="2594950"/>
            <a:ext cx="1126670" cy="338554"/>
          </a:xfrm>
          <a:prstGeom prst="rect">
            <a:avLst/>
          </a:prstGeom>
          <a:noFill/>
        </p:spPr>
        <p:txBody>
          <a:bodyPr wrap="square" lIns="0" tIns="0" rIns="0" bIns="0" rtlCol="0">
            <a:spAutoFit/>
          </a:bodyPr>
          <a:lstStyle/>
          <a:p>
            <a:pPr algn="ctr"/>
            <a:r>
              <a:rPr lang="en-US" sz="1100" dirty="0" smtClean="0">
                <a:solidFill>
                  <a:schemeClr val="accent2"/>
                </a:solidFill>
                <a:latin typeface="GE Inspira Pitch" charset="0"/>
                <a:ea typeface="GE Inspira Pitch" charset="0"/>
                <a:cs typeface="GE Inspira Pitch" charset="0"/>
              </a:rPr>
              <a:t>Digital Challenge </a:t>
            </a:r>
            <a:r>
              <a:rPr lang="en-US" sz="1100" smtClean="0">
                <a:solidFill>
                  <a:schemeClr val="accent2"/>
                </a:solidFill>
                <a:latin typeface="GE Inspira Pitch" charset="0"/>
                <a:ea typeface="GE Inspira Pitch" charset="0"/>
                <a:cs typeface="GE Inspira Pitch" charset="0"/>
              </a:rPr>
              <a:t>Kick Off</a:t>
            </a:r>
            <a:endParaRPr lang="en-US" sz="1100" dirty="0">
              <a:solidFill>
                <a:schemeClr val="accent2"/>
              </a:solidFill>
              <a:latin typeface="GE Inspira Pitch" charset="0"/>
              <a:ea typeface="GE Inspira Pitch" charset="0"/>
              <a:cs typeface="GE Inspira Pitch" charset="0"/>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11</a:t>
            </a:fld>
            <a:endParaRPr lang="en-CA" dirty="0"/>
          </a:p>
        </p:txBody>
      </p:sp>
      <p:sp>
        <p:nvSpPr>
          <p:cNvPr id="63" name="TextBox 62"/>
          <p:cNvSpPr txBox="1"/>
          <p:nvPr/>
        </p:nvSpPr>
        <p:spPr>
          <a:xfrm>
            <a:off x="10629507" y="2564145"/>
            <a:ext cx="1126670" cy="338554"/>
          </a:xfrm>
          <a:prstGeom prst="rect">
            <a:avLst/>
          </a:prstGeom>
          <a:noFill/>
        </p:spPr>
        <p:txBody>
          <a:bodyPr wrap="square" lIns="0" tIns="0" rIns="0" bIns="0" rtlCol="0">
            <a:spAutoFit/>
          </a:bodyPr>
          <a:lstStyle/>
          <a:p>
            <a:pPr algn="ctr"/>
            <a:r>
              <a:rPr lang="en-US" sz="1100" dirty="0" smtClean="0">
                <a:solidFill>
                  <a:schemeClr val="accent2"/>
                </a:solidFill>
                <a:latin typeface="GE Inspira Pitch" charset="0"/>
                <a:ea typeface="GE Inspira Pitch" charset="0"/>
                <a:cs typeface="GE Inspira Pitch" charset="0"/>
              </a:rPr>
              <a:t>Submission</a:t>
            </a:r>
          </a:p>
          <a:p>
            <a:pPr algn="ctr"/>
            <a:r>
              <a:rPr lang="en-US" sz="1100" dirty="0" smtClean="0">
                <a:solidFill>
                  <a:schemeClr val="accent2"/>
                </a:solidFill>
                <a:latin typeface="GE Inspira Pitch" charset="0"/>
                <a:ea typeface="GE Inspira Pitch" charset="0"/>
                <a:cs typeface="GE Inspira Pitch" charset="0"/>
              </a:rPr>
              <a:t>Deadline</a:t>
            </a:r>
            <a:endParaRPr lang="en-US" sz="1100" dirty="0">
              <a:solidFill>
                <a:schemeClr val="accent2"/>
              </a:solidFill>
              <a:latin typeface="GE Inspira Pitch" charset="0"/>
              <a:ea typeface="GE Inspira Pitch" charset="0"/>
              <a:cs typeface="GE Inspira Pitch" charset="0"/>
            </a:endParaRPr>
          </a:p>
        </p:txBody>
      </p:sp>
      <p:sp>
        <p:nvSpPr>
          <p:cNvPr id="64" name="Rounded Rectangle 108"/>
          <p:cNvSpPr/>
          <p:nvPr/>
        </p:nvSpPr>
        <p:spPr>
          <a:xfrm>
            <a:off x="10570576" y="4501643"/>
            <a:ext cx="1230609" cy="278911"/>
          </a:xfrm>
          <a:prstGeom prst="roundRect">
            <a:avLst/>
          </a:prstGeom>
          <a:solidFill>
            <a:srgbClr val="00B0F0"/>
          </a:solidFill>
          <a:ln>
            <a:solidFill>
              <a:schemeClr val="tx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cxnSp>
        <p:nvCxnSpPr>
          <p:cNvPr id="62" name="Straight Connector 61"/>
          <p:cNvCxnSpPr/>
          <p:nvPr/>
        </p:nvCxnSpPr>
        <p:spPr>
          <a:xfrm flipH="1">
            <a:off x="10574908" y="1381133"/>
            <a:ext cx="544" cy="3426973"/>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88269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Market Strategy</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12</a:t>
            </a:fld>
            <a:endParaRPr lang="en-CA"/>
          </a:p>
        </p:txBody>
      </p:sp>
    </p:spTree>
    <p:extLst>
      <p:ext uri="{BB962C8B-B14F-4D97-AF65-F5344CB8AC3E}">
        <p14:creationId xmlns:p14="http://schemas.microsoft.com/office/powerpoint/2010/main" val="20102289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33"/>
          <p:cNvSpPr>
            <a:spLocks noGrp="1"/>
          </p:cNvSpPr>
          <p:nvPr>
            <p:ph type="title"/>
          </p:nvPr>
        </p:nvSpPr>
        <p:spPr/>
        <p:txBody>
          <a:bodyPr vert="horz" lIns="0" tIns="0" rIns="0" bIns="0" rtlCol="0" anchor="ctr" anchorCtr="0">
            <a:noAutofit/>
          </a:bodyPr>
          <a:lstStyle/>
          <a:p>
            <a:r>
              <a:rPr lang="en-US" dirty="0" smtClean="0"/>
              <a:t>Current Vision </a:t>
            </a:r>
            <a:r>
              <a:rPr lang="en-US" dirty="0"/>
              <a:t>| </a:t>
            </a:r>
            <a:r>
              <a:rPr lang="en-US" dirty="0" smtClean="0"/>
              <a:t>Market Strategy</a:t>
            </a:r>
            <a:endParaRPr lang="en-US" dirty="0"/>
          </a:p>
        </p:txBody>
      </p:sp>
      <p:cxnSp>
        <p:nvCxnSpPr>
          <p:cNvPr id="98" name="Straight Connector 97"/>
          <p:cNvCxnSpPr/>
          <p:nvPr/>
        </p:nvCxnSpPr>
        <p:spPr>
          <a:xfrm>
            <a:off x="936796" y="1346716"/>
            <a:ext cx="5004676" cy="0"/>
          </a:xfrm>
          <a:prstGeom prst="line">
            <a:avLst/>
          </a:prstGeom>
        </p:spPr>
        <p:style>
          <a:lnRef idx="1">
            <a:schemeClr val="dk1"/>
          </a:lnRef>
          <a:fillRef idx="0">
            <a:schemeClr val="dk1"/>
          </a:fillRef>
          <a:effectRef idx="0">
            <a:schemeClr val="dk1"/>
          </a:effectRef>
          <a:fontRef idx="minor">
            <a:schemeClr val="tx1"/>
          </a:fontRef>
        </p:style>
      </p:cxnSp>
      <p:sp>
        <p:nvSpPr>
          <p:cNvPr id="99" name="TextBox 98"/>
          <p:cNvSpPr txBox="1"/>
          <p:nvPr/>
        </p:nvSpPr>
        <p:spPr>
          <a:xfrm>
            <a:off x="2304684" y="1188572"/>
            <a:ext cx="2398243" cy="307777"/>
          </a:xfrm>
          <a:prstGeom prst="rect">
            <a:avLst/>
          </a:prstGeom>
          <a:solidFill>
            <a:schemeClr val="bg1"/>
          </a:solidFill>
        </p:spPr>
        <p:txBody>
          <a:bodyPr wrap="square" lIns="0" tIns="0" rIns="0" bIns="0" rtlCol="0">
            <a:spAutoFit/>
          </a:bodyPr>
          <a:lstStyle/>
          <a:p>
            <a:pPr algn="ctr"/>
            <a:r>
              <a:rPr lang="en-US" sz="2000" b="1" dirty="0" smtClean="0">
                <a:solidFill>
                  <a:schemeClr val="accent2"/>
                </a:solidFill>
              </a:rPr>
              <a:t>Market Segments</a:t>
            </a:r>
            <a:endParaRPr lang="en-US" sz="2000" b="1" dirty="0">
              <a:solidFill>
                <a:schemeClr val="accent2"/>
              </a:solidFill>
            </a:endParaRPr>
          </a:p>
        </p:txBody>
      </p:sp>
      <p:cxnSp>
        <p:nvCxnSpPr>
          <p:cNvPr id="101" name="Straight Connector 100"/>
          <p:cNvCxnSpPr/>
          <p:nvPr/>
        </p:nvCxnSpPr>
        <p:spPr>
          <a:xfrm>
            <a:off x="6574140" y="1346716"/>
            <a:ext cx="5004676" cy="0"/>
          </a:xfrm>
          <a:prstGeom prst="line">
            <a:avLst/>
          </a:prstGeom>
        </p:spPr>
        <p:style>
          <a:lnRef idx="1">
            <a:schemeClr val="dk1"/>
          </a:lnRef>
          <a:fillRef idx="0">
            <a:schemeClr val="dk1"/>
          </a:fillRef>
          <a:effectRef idx="0">
            <a:schemeClr val="dk1"/>
          </a:effectRef>
          <a:fontRef idx="minor">
            <a:schemeClr val="tx1"/>
          </a:fontRef>
        </p:style>
      </p:cxnSp>
      <p:sp>
        <p:nvSpPr>
          <p:cNvPr id="102" name="TextBox 101"/>
          <p:cNvSpPr txBox="1"/>
          <p:nvPr/>
        </p:nvSpPr>
        <p:spPr>
          <a:xfrm>
            <a:off x="7941260" y="1188572"/>
            <a:ext cx="2048925" cy="307777"/>
          </a:xfrm>
          <a:prstGeom prst="rect">
            <a:avLst/>
          </a:prstGeom>
          <a:solidFill>
            <a:schemeClr val="bg1"/>
          </a:solidFill>
        </p:spPr>
        <p:txBody>
          <a:bodyPr wrap="square" lIns="0" tIns="0" rIns="0" bIns="0" rtlCol="0">
            <a:spAutoFit/>
          </a:bodyPr>
          <a:lstStyle/>
          <a:p>
            <a:pPr algn="ctr"/>
            <a:r>
              <a:rPr lang="en-US" sz="2000" b="1" dirty="0" smtClean="0">
                <a:solidFill>
                  <a:schemeClr val="accent2"/>
                </a:solidFill>
              </a:rPr>
              <a:t>Target Market</a:t>
            </a:r>
            <a:endParaRPr lang="en-US" sz="2000" b="1" dirty="0">
              <a:solidFill>
                <a:schemeClr val="accent2"/>
              </a:solidFill>
            </a:endParaRPr>
          </a:p>
        </p:txBody>
      </p:sp>
      <p:grpSp>
        <p:nvGrpSpPr>
          <p:cNvPr id="104" name="Group 103"/>
          <p:cNvGrpSpPr/>
          <p:nvPr/>
        </p:nvGrpSpPr>
        <p:grpSpPr>
          <a:xfrm>
            <a:off x="1159754" y="3347848"/>
            <a:ext cx="4581560" cy="246221"/>
            <a:chOff x="1050224" y="1828800"/>
            <a:chExt cx="4581560" cy="246221"/>
          </a:xfrm>
        </p:grpSpPr>
        <p:sp>
          <p:nvSpPr>
            <p:cNvPr id="114" name="TextBox 113"/>
            <p:cNvSpPr txBox="1"/>
            <p:nvPr/>
          </p:nvSpPr>
          <p:spPr>
            <a:xfrm>
              <a:off x="1050224" y="1828800"/>
              <a:ext cx="3750376" cy="246221"/>
            </a:xfrm>
            <a:prstGeom prst="rect">
              <a:avLst/>
            </a:prstGeom>
            <a:noFill/>
          </p:spPr>
          <p:txBody>
            <a:bodyPr wrap="square" lIns="0" tIns="0" rIns="0" bIns="0" rtlCol="0">
              <a:spAutoFit/>
            </a:bodyPr>
            <a:lstStyle/>
            <a:p>
              <a:pPr marL="342900" indent="-342900">
                <a:buFont typeface="+mj-lt"/>
                <a:buAutoNum type="arabicPeriod" startAt="5"/>
              </a:pPr>
              <a:r>
                <a:rPr lang="en-US" sz="1600" dirty="0" smtClean="0">
                  <a:solidFill>
                    <a:schemeClr val="accent2"/>
                  </a:solidFill>
                </a:rPr>
                <a:t>Advertising Companies for Construction</a:t>
              </a:r>
              <a:endParaRPr lang="en-US" sz="1600" dirty="0">
                <a:solidFill>
                  <a:schemeClr val="accent2"/>
                </a:solidFill>
              </a:endParaRPr>
            </a:p>
          </p:txBody>
        </p:sp>
        <p:sp>
          <p:nvSpPr>
            <p:cNvPr id="115" name="TextBox 114"/>
            <p:cNvSpPr txBox="1"/>
            <p:nvPr/>
          </p:nvSpPr>
          <p:spPr>
            <a:xfrm>
              <a:off x="4889792" y="1828800"/>
              <a:ext cx="741992" cy="246221"/>
            </a:xfrm>
            <a:prstGeom prst="rect">
              <a:avLst/>
            </a:prstGeom>
            <a:noFill/>
          </p:spPr>
          <p:txBody>
            <a:bodyPr wrap="square" lIns="0" tIns="0" rIns="0" bIns="0" rtlCol="0">
              <a:spAutoFit/>
            </a:bodyPr>
            <a:lstStyle/>
            <a:p>
              <a:pPr algn="ctr"/>
              <a:endParaRPr lang="en-US" sz="1600" i="1" dirty="0">
                <a:solidFill>
                  <a:schemeClr val="accent2"/>
                </a:solidFill>
              </a:endParaRPr>
            </a:p>
          </p:txBody>
        </p:sp>
      </p:grpSp>
      <p:grpSp>
        <p:nvGrpSpPr>
          <p:cNvPr id="105" name="Group 104"/>
          <p:cNvGrpSpPr/>
          <p:nvPr/>
        </p:nvGrpSpPr>
        <p:grpSpPr>
          <a:xfrm>
            <a:off x="1136509" y="1564160"/>
            <a:ext cx="4581560" cy="246221"/>
            <a:chOff x="1050224" y="2316839"/>
            <a:chExt cx="4581560" cy="246221"/>
          </a:xfrm>
        </p:grpSpPr>
        <p:sp>
          <p:nvSpPr>
            <p:cNvPr id="112" name="TextBox 111"/>
            <p:cNvSpPr txBox="1"/>
            <p:nvPr/>
          </p:nvSpPr>
          <p:spPr>
            <a:xfrm>
              <a:off x="1050224" y="2316839"/>
              <a:ext cx="2796621" cy="246221"/>
            </a:xfrm>
            <a:prstGeom prst="rect">
              <a:avLst/>
            </a:prstGeom>
            <a:noFill/>
          </p:spPr>
          <p:txBody>
            <a:bodyPr wrap="square" lIns="0" tIns="0" rIns="0" bIns="0" rtlCol="0">
              <a:spAutoFit/>
            </a:bodyPr>
            <a:lstStyle/>
            <a:p>
              <a:r>
                <a:rPr lang="en-US" sz="1600" dirty="0" smtClean="0">
                  <a:solidFill>
                    <a:schemeClr val="accent2"/>
                  </a:solidFill>
                </a:rPr>
                <a:t>Market Segments considered</a:t>
              </a:r>
            </a:p>
          </p:txBody>
        </p:sp>
        <p:sp>
          <p:nvSpPr>
            <p:cNvPr id="113" name="TextBox 112"/>
            <p:cNvSpPr txBox="1"/>
            <p:nvPr/>
          </p:nvSpPr>
          <p:spPr>
            <a:xfrm>
              <a:off x="4889792" y="2316839"/>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106" name="Group 105"/>
          <p:cNvGrpSpPr/>
          <p:nvPr/>
        </p:nvGrpSpPr>
        <p:grpSpPr>
          <a:xfrm>
            <a:off x="1136509" y="1902210"/>
            <a:ext cx="4581560" cy="260126"/>
            <a:chOff x="1050224" y="2681193"/>
            <a:chExt cx="4581560" cy="260126"/>
          </a:xfrm>
        </p:grpSpPr>
        <p:sp>
          <p:nvSpPr>
            <p:cNvPr id="110" name="TextBox 109"/>
            <p:cNvSpPr txBox="1"/>
            <p:nvPr/>
          </p:nvSpPr>
          <p:spPr>
            <a:xfrm>
              <a:off x="1050224" y="2695098"/>
              <a:ext cx="2796621" cy="246221"/>
            </a:xfrm>
            <a:prstGeom prst="rect">
              <a:avLst/>
            </a:prstGeom>
            <a:noFill/>
          </p:spPr>
          <p:txBody>
            <a:bodyPr wrap="square" lIns="0" tIns="0" rIns="0" bIns="0" rtlCol="0">
              <a:spAutoFit/>
            </a:bodyPr>
            <a:lstStyle/>
            <a:p>
              <a:pPr marL="342900" indent="-342900">
                <a:buFont typeface="+mj-lt"/>
                <a:buAutoNum type="arabicPeriod"/>
              </a:pPr>
              <a:r>
                <a:rPr lang="en-US" sz="1600" dirty="0" smtClean="0">
                  <a:solidFill>
                    <a:schemeClr val="accent2"/>
                  </a:solidFill>
                </a:rPr>
                <a:t>Construction Companies</a:t>
              </a:r>
              <a:endParaRPr lang="en-US" sz="1600" dirty="0">
                <a:solidFill>
                  <a:schemeClr val="accent2"/>
                </a:solidFill>
              </a:endParaRPr>
            </a:p>
          </p:txBody>
        </p:sp>
        <p:sp>
          <p:nvSpPr>
            <p:cNvPr id="111" name="TextBox 110"/>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107" name="Group 106"/>
          <p:cNvGrpSpPr/>
          <p:nvPr/>
        </p:nvGrpSpPr>
        <p:grpSpPr>
          <a:xfrm>
            <a:off x="1136509" y="2988854"/>
            <a:ext cx="4618660" cy="246221"/>
            <a:chOff x="1050224" y="3307678"/>
            <a:chExt cx="4618660" cy="246221"/>
          </a:xfrm>
        </p:grpSpPr>
        <p:sp>
          <p:nvSpPr>
            <p:cNvPr id="108" name="TextBox 107"/>
            <p:cNvSpPr txBox="1"/>
            <p:nvPr/>
          </p:nvSpPr>
          <p:spPr>
            <a:xfrm>
              <a:off x="1050224" y="3307678"/>
              <a:ext cx="2796621" cy="246221"/>
            </a:xfrm>
            <a:prstGeom prst="rect">
              <a:avLst/>
            </a:prstGeom>
            <a:noFill/>
          </p:spPr>
          <p:txBody>
            <a:bodyPr wrap="square" lIns="0" tIns="0" rIns="0" bIns="0" rtlCol="0">
              <a:spAutoFit/>
            </a:bodyPr>
            <a:lstStyle/>
            <a:p>
              <a:pPr marL="342900" indent="-342900">
                <a:buFont typeface="+mj-lt"/>
                <a:buAutoNum type="arabicPeriod" startAt="4"/>
              </a:pPr>
              <a:r>
                <a:rPr lang="en-US" sz="1600" dirty="0" smtClean="0">
                  <a:solidFill>
                    <a:schemeClr val="accent2"/>
                  </a:solidFill>
                </a:rPr>
                <a:t>Local Governments</a:t>
              </a:r>
              <a:endParaRPr lang="en-US" sz="1600" dirty="0">
                <a:solidFill>
                  <a:schemeClr val="accent2"/>
                </a:solidFill>
              </a:endParaRPr>
            </a:p>
          </p:txBody>
        </p:sp>
        <p:sp>
          <p:nvSpPr>
            <p:cNvPr id="109" name="TextBox 108"/>
            <p:cNvSpPr txBox="1"/>
            <p:nvPr/>
          </p:nvSpPr>
          <p:spPr>
            <a:xfrm>
              <a:off x="4852693" y="3307678"/>
              <a:ext cx="816191" cy="246221"/>
            </a:xfrm>
            <a:prstGeom prst="rect">
              <a:avLst/>
            </a:prstGeom>
            <a:noFill/>
          </p:spPr>
          <p:txBody>
            <a:bodyPr wrap="square" lIns="0" tIns="0" rIns="0" bIns="0" rtlCol="0">
              <a:spAutoFit/>
            </a:bodyPr>
            <a:lstStyle/>
            <a:p>
              <a:pPr algn="ctr"/>
              <a:endParaRPr lang="en-US" sz="1600" b="1" dirty="0">
                <a:solidFill>
                  <a:schemeClr val="accent2"/>
                </a:solidFill>
              </a:endParaRPr>
            </a:p>
          </p:txBody>
        </p:sp>
      </p:grpSp>
      <p:sp>
        <p:nvSpPr>
          <p:cNvPr id="180" name="Rectangle 179"/>
          <p:cNvSpPr/>
          <p:nvPr/>
        </p:nvSpPr>
        <p:spPr bwMode="gray">
          <a:xfrm>
            <a:off x="936796" y="3980144"/>
            <a:ext cx="10642020"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81" name="TextBox 180"/>
          <p:cNvSpPr txBox="1"/>
          <p:nvPr/>
        </p:nvSpPr>
        <p:spPr bwMode="gray">
          <a:xfrm>
            <a:off x="4956333" y="3748284"/>
            <a:ext cx="2602946" cy="400110"/>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smtClean="0"/>
              <a:t>Market Analysis</a:t>
            </a:r>
            <a:endParaRPr kumimoji="0" lang="en-US" sz="2000" b="1" i="0" u="none" strike="noStrike" kern="0" cap="none" spc="0" normalizeH="0" baseline="0" noProof="0" dirty="0">
              <a:ln>
                <a:noFill/>
              </a:ln>
              <a:effectLst/>
              <a:uLnTx/>
              <a:uFillTx/>
            </a:endParaRPr>
          </a:p>
        </p:txBody>
      </p:sp>
      <p:sp>
        <p:nvSpPr>
          <p:cNvPr id="184" name="TextBox 183"/>
          <p:cNvSpPr txBox="1"/>
          <p:nvPr/>
        </p:nvSpPr>
        <p:spPr>
          <a:xfrm>
            <a:off x="1084631" y="4149979"/>
            <a:ext cx="483835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Workplace injuries and accidents cost the construction industry over </a:t>
            </a:r>
            <a:r>
              <a:rPr lang="en-US" sz="1600" b="1" dirty="0"/>
              <a:t>$11 billion</a:t>
            </a:r>
            <a:r>
              <a:rPr lang="en-US" sz="1600" dirty="0"/>
              <a:t> a year </a:t>
            </a:r>
            <a:endParaRPr lang="en-US" sz="1600" dirty="0">
              <a:solidFill>
                <a:schemeClr val="accent2"/>
              </a:solidFill>
            </a:endParaRPr>
          </a:p>
        </p:txBody>
      </p:sp>
      <p:sp>
        <p:nvSpPr>
          <p:cNvPr id="185" name="TextBox 184"/>
          <p:cNvSpPr txBox="1"/>
          <p:nvPr/>
        </p:nvSpPr>
        <p:spPr>
          <a:xfrm>
            <a:off x="1084631" y="4816479"/>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A work zone crash </a:t>
            </a:r>
            <a:r>
              <a:rPr lang="en-US" sz="1600" dirty="0" smtClean="0"/>
              <a:t>occurs </a:t>
            </a:r>
            <a:r>
              <a:rPr lang="en-US" sz="1600" dirty="0"/>
              <a:t>once every </a:t>
            </a:r>
            <a:r>
              <a:rPr lang="en-US" sz="1600" b="1" dirty="0"/>
              <a:t>5.4</a:t>
            </a:r>
            <a:r>
              <a:rPr lang="en-US" sz="1600" dirty="0"/>
              <a:t> minutes </a:t>
            </a:r>
            <a:endParaRPr lang="en-US" sz="1600" dirty="0">
              <a:solidFill>
                <a:schemeClr val="accent2"/>
              </a:solidFill>
            </a:endParaRPr>
          </a:p>
        </p:txBody>
      </p:sp>
      <p:sp>
        <p:nvSpPr>
          <p:cNvPr id="186" name="TextBox 185"/>
          <p:cNvSpPr txBox="1"/>
          <p:nvPr/>
        </p:nvSpPr>
        <p:spPr>
          <a:xfrm>
            <a:off x="1084631" y="5482979"/>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Every day, </a:t>
            </a:r>
            <a:r>
              <a:rPr lang="en-US" sz="1600" b="1" dirty="0"/>
              <a:t>70</a:t>
            </a:r>
            <a:r>
              <a:rPr lang="en-US" sz="1600" dirty="0"/>
              <a:t> work zone crashes </a:t>
            </a:r>
            <a:r>
              <a:rPr lang="en-US" sz="1600" dirty="0" smtClean="0"/>
              <a:t>occur </a:t>
            </a:r>
            <a:r>
              <a:rPr lang="en-US" sz="1600" dirty="0"/>
              <a:t>that </a:t>
            </a:r>
            <a:r>
              <a:rPr lang="en-US" sz="1600" dirty="0" smtClean="0"/>
              <a:t>result </a:t>
            </a:r>
            <a:r>
              <a:rPr lang="en-US" sz="1600" dirty="0"/>
              <a:t>in at least one </a:t>
            </a:r>
            <a:r>
              <a:rPr lang="en-US" sz="1600" dirty="0" smtClean="0"/>
              <a:t>injury</a:t>
            </a:r>
            <a:endParaRPr lang="en-US" sz="1600" dirty="0">
              <a:solidFill>
                <a:schemeClr val="accent2"/>
              </a:solidFill>
            </a:endParaRPr>
          </a:p>
        </p:txBody>
      </p:sp>
      <p:sp>
        <p:nvSpPr>
          <p:cNvPr id="42" name="Slide Number Placeholder 1"/>
          <p:cNvSpPr>
            <a:spLocks noGrp="1"/>
          </p:cNvSpPr>
          <p:nvPr>
            <p:ph type="sldNum" sz="quarter" idx="12"/>
          </p:nvPr>
        </p:nvSpPr>
        <p:spPr>
          <a:xfrm>
            <a:off x="11413998" y="6475080"/>
            <a:ext cx="329636" cy="182880"/>
          </a:xfrm>
        </p:spPr>
        <p:txBody>
          <a:bodyPr/>
          <a:lstStyle/>
          <a:p>
            <a:r>
              <a:rPr lang="en-CA" dirty="0"/>
              <a:t>6</a:t>
            </a:r>
          </a:p>
        </p:txBody>
      </p:sp>
      <p:grpSp>
        <p:nvGrpSpPr>
          <p:cNvPr id="41" name="Group 40"/>
          <p:cNvGrpSpPr/>
          <p:nvPr/>
        </p:nvGrpSpPr>
        <p:grpSpPr>
          <a:xfrm>
            <a:off x="1136509" y="2254165"/>
            <a:ext cx="4581560" cy="260126"/>
            <a:chOff x="1050224" y="2681193"/>
            <a:chExt cx="4581560" cy="260126"/>
          </a:xfrm>
        </p:grpSpPr>
        <p:sp>
          <p:nvSpPr>
            <p:cNvPr id="43" name="TextBox 42"/>
            <p:cNvSpPr txBox="1"/>
            <p:nvPr/>
          </p:nvSpPr>
          <p:spPr>
            <a:xfrm>
              <a:off x="1050224" y="2695098"/>
              <a:ext cx="2796621" cy="246221"/>
            </a:xfrm>
            <a:prstGeom prst="rect">
              <a:avLst/>
            </a:prstGeom>
            <a:noFill/>
          </p:spPr>
          <p:txBody>
            <a:bodyPr wrap="square" lIns="0" tIns="0" rIns="0" bIns="0" rtlCol="0">
              <a:spAutoFit/>
            </a:bodyPr>
            <a:lstStyle/>
            <a:p>
              <a:pPr marL="342900" indent="-342900">
                <a:buFont typeface="+mj-lt"/>
                <a:buAutoNum type="arabicPeriod" startAt="2"/>
              </a:pPr>
              <a:r>
                <a:rPr lang="en-US" sz="1600" dirty="0" smtClean="0">
                  <a:solidFill>
                    <a:schemeClr val="accent2"/>
                  </a:solidFill>
                </a:rPr>
                <a:t>Traffic Control Boards</a:t>
              </a:r>
              <a:endParaRPr lang="en-US" sz="1600" dirty="0">
                <a:solidFill>
                  <a:schemeClr val="accent2"/>
                </a:solidFill>
              </a:endParaRPr>
            </a:p>
          </p:txBody>
        </p:sp>
        <p:sp>
          <p:nvSpPr>
            <p:cNvPr id="44" name="TextBox 43"/>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45" name="Group 44"/>
          <p:cNvGrpSpPr/>
          <p:nvPr/>
        </p:nvGrpSpPr>
        <p:grpSpPr>
          <a:xfrm>
            <a:off x="1136509" y="2636898"/>
            <a:ext cx="4581560" cy="260126"/>
            <a:chOff x="1050224" y="2681193"/>
            <a:chExt cx="4581560" cy="260126"/>
          </a:xfrm>
        </p:grpSpPr>
        <p:sp>
          <p:nvSpPr>
            <p:cNvPr id="46" name="TextBox 45"/>
            <p:cNvSpPr txBox="1"/>
            <p:nvPr/>
          </p:nvSpPr>
          <p:spPr>
            <a:xfrm>
              <a:off x="1050224" y="2695098"/>
              <a:ext cx="2796621" cy="246221"/>
            </a:xfrm>
            <a:prstGeom prst="rect">
              <a:avLst/>
            </a:prstGeom>
            <a:noFill/>
          </p:spPr>
          <p:txBody>
            <a:bodyPr wrap="square" lIns="0" tIns="0" rIns="0" bIns="0" rtlCol="0">
              <a:spAutoFit/>
            </a:bodyPr>
            <a:lstStyle/>
            <a:p>
              <a:pPr marL="342900" indent="-342900">
                <a:buFont typeface="+mj-lt"/>
                <a:buAutoNum type="arabicPeriod" startAt="3"/>
              </a:pPr>
              <a:r>
                <a:rPr lang="en-US" sz="1600" dirty="0" smtClean="0">
                  <a:solidFill>
                    <a:schemeClr val="accent2"/>
                  </a:solidFill>
                </a:rPr>
                <a:t>Local Businesses</a:t>
              </a:r>
              <a:endParaRPr lang="en-US" sz="1600" dirty="0">
                <a:solidFill>
                  <a:schemeClr val="accent2"/>
                </a:solidFill>
              </a:endParaRPr>
            </a:p>
          </p:txBody>
        </p:sp>
        <p:sp>
          <p:nvSpPr>
            <p:cNvPr id="47" name="TextBox 46"/>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51" name="Group 50"/>
          <p:cNvGrpSpPr/>
          <p:nvPr/>
        </p:nvGrpSpPr>
        <p:grpSpPr>
          <a:xfrm>
            <a:off x="6655611" y="1565908"/>
            <a:ext cx="4581560" cy="492443"/>
            <a:chOff x="1050224" y="2080599"/>
            <a:chExt cx="4581560" cy="492443"/>
          </a:xfrm>
        </p:grpSpPr>
        <p:sp>
          <p:nvSpPr>
            <p:cNvPr id="52" name="TextBox 51"/>
            <p:cNvSpPr txBox="1"/>
            <p:nvPr/>
          </p:nvSpPr>
          <p:spPr>
            <a:xfrm>
              <a:off x="1050224" y="2080599"/>
              <a:ext cx="4379464" cy="492443"/>
            </a:xfrm>
            <a:prstGeom prst="rect">
              <a:avLst/>
            </a:prstGeom>
            <a:noFill/>
          </p:spPr>
          <p:txBody>
            <a:bodyPr wrap="square" lIns="0" tIns="0" rIns="0" bIns="0" rtlCol="0">
              <a:spAutoFit/>
            </a:bodyPr>
            <a:lstStyle/>
            <a:p>
              <a:pPr marL="342900" indent="-342900">
                <a:buFont typeface="+mj-lt"/>
                <a:buAutoNum type="arabicPeriod"/>
              </a:pPr>
              <a:r>
                <a:rPr lang="en-US" sz="1600" dirty="0" smtClean="0">
                  <a:solidFill>
                    <a:schemeClr val="accent2"/>
                  </a:solidFill>
                </a:rPr>
                <a:t>Construction Companies</a:t>
              </a:r>
            </a:p>
            <a:p>
              <a:pPr marL="800100" lvl="1" indent="-342900">
                <a:buFont typeface="Arial" charset="0"/>
                <a:buChar char="•"/>
              </a:pPr>
              <a:r>
                <a:rPr lang="en-US" sz="1600" dirty="0" smtClean="0">
                  <a:solidFill>
                    <a:schemeClr val="accent2"/>
                  </a:solidFill>
                </a:rPr>
                <a:t>Major city construction companies</a:t>
              </a:r>
              <a:endParaRPr lang="en-US" sz="1600" dirty="0">
                <a:solidFill>
                  <a:schemeClr val="accent2"/>
                </a:solidFill>
              </a:endParaRPr>
            </a:p>
          </p:txBody>
        </p:sp>
        <p:sp>
          <p:nvSpPr>
            <p:cNvPr id="53" name="TextBox 52"/>
            <p:cNvSpPr txBox="1"/>
            <p:nvPr/>
          </p:nvSpPr>
          <p:spPr>
            <a:xfrm>
              <a:off x="4889792" y="2316839"/>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60" name="Group 59"/>
          <p:cNvGrpSpPr/>
          <p:nvPr/>
        </p:nvGrpSpPr>
        <p:grpSpPr>
          <a:xfrm>
            <a:off x="6655611" y="2688890"/>
            <a:ext cx="4581560" cy="738664"/>
            <a:chOff x="1050224" y="2598331"/>
            <a:chExt cx="4581560" cy="738664"/>
          </a:xfrm>
        </p:grpSpPr>
        <p:sp>
          <p:nvSpPr>
            <p:cNvPr id="61" name="TextBox 60"/>
            <p:cNvSpPr txBox="1"/>
            <p:nvPr/>
          </p:nvSpPr>
          <p:spPr>
            <a:xfrm>
              <a:off x="1050224" y="2598331"/>
              <a:ext cx="3684520" cy="738664"/>
            </a:xfrm>
            <a:prstGeom prst="rect">
              <a:avLst/>
            </a:prstGeom>
            <a:noFill/>
          </p:spPr>
          <p:txBody>
            <a:bodyPr wrap="square" lIns="0" tIns="0" rIns="0" bIns="0" rtlCol="0">
              <a:spAutoFit/>
            </a:bodyPr>
            <a:lstStyle/>
            <a:p>
              <a:pPr marL="342900" indent="-342900">
                <a:buFont typeface="+mj-lt"/>
                <a:buAutoNum type="arabicPeriod" startAt="2"/>
              </a:pPr>
              <a:r>
                <a:rPr lang="en-US" sz="1600" dirty="0" smtClean="0">
                  <a:solidFill>
                    <a:schemeClr val="accent2"/>
                  </a:solidFill>
                </a:rPr>
                <a:t>Local Governments</a:t>
              </a:r>
            </a:p>
            <a:p>
              <a:pPr marL="800100" lvl="1" indent="-342900">
                <a:buFont typeface="Arial" charset="0"/>
                <a:buChar char="•"/>
              </a:pPr>
              <a:r>
                <a:rPr lang="en-US" sz="1600" dirty="0" smtClean="0">
                  <a:solidFill>
                    <a:schemeClr val="accent2"/>
                  </a:solidFill>
                </a:rPr>
                <a:t>Mainly those with major cities in their jurisdiction</a:t>
              </a:r>
              <a:endParaRPr lang="en-US" sz="1600" dirty="0">
                <a:solidFill>
                  <a:schemeClr val="accent2"/>
                </a:solidFill>
              </a:endParaRPr>
            </a:p>
          </p:txBody>
        </p:sp>
        <p:sp>
          <p:nvSpPr>
            <p:cNvPr id="62" name="TextBox 61"/>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sp>
        <p:nvSpPr>
          <p:cNvPr id="68" name="TextBox 67"/>
          <p:cNvSpPr txBox="1"/>
          <p:nvPr/>
        </p:nvSpPr>
        <p:spPr>
          <a:xfrm>
            <a:off x="6546548" y="4228562"/>
            <a:ext cx="4838350" cy="584775"/>
          </a:xfrm>
          <a:prstGeom prst="rect">
            <a:avLst/>
          </a:prstGeom>
          <a:noFill/>
        </p:spPr>
        <p:txBody>
          <a:bodyPr wrap="square" rtlCol="0">
            <a:spAutoFit/>
          </a:bodyPr>
          <a:lstStyle/>
          <a:p>
            <a:pPr marL="285750" lvl="0" indent="-285750">
              <a:buFont typeface="Arial" charset="0"/>
              <a:buChar char="•"/>
            </a:pPr>
            <a:r>
              <a:rPr lang="en-US" sz="1600" dirty="0"/>
              <a:t>Every week, </a:t>
            </a:r>
            <a:r>
              <a:rPr lang="en-US" sz="1600" b="1" dirty="0"/>
              <a:t>12</a:t>
            </a:r>
            <a:r>
              <a:rPr lang="en-US" sz="1600" dirty="0"/>
              <a:t> work zone crashes </a:t>
            </a:r>
            <a:r>
              <a:rPr lang="en-US" sz="1600" dirty="0" smtClean="0"/>
              <a:t>occur </a:t>
            </a:r>
            <a:r>
              <a:rPr lang="en-US" sz="1600" dirty="0"/>
              <a:t>that </a:t>
            </a:r>
            <a:r>
              <a:rPr lang="en-US" sz="1600" dirty="0" smtClean="0"/>
              <a:t>result </a:t>
            </a:r>
            <a:r>
              <a:rPr lang="en-US" sz="1600" dirty="0"/>
              <a:t>in at least one </a:t>
            </a:r>
            <a:r>
              <a:rPr lang="en-US" sz="1600" dirty="0" smtClean="0"/>
              <a:t>fatality</a:t>
            </a:r>
            <a:endParaRPr lang="en-US" sz="1600" dirty="0"/>
          </a:p>
        </p:txBody>
      </p:sp>
      <p:sp>
        <p:nvSpPr>
          <p:cNvPr id="69" name="TextBox 68"/>
          <p:cNvSpPr txBox="1"/>
          <p:nvPr/>
        </p:nvSpPr>
        <p:spPr>
          <a:xfrm>
            <a:off x="6575648" y="4863870"/>
            <a:ext cx="4838350" cy="584775"/>
          </a:xfrm>
          <a:prstGeom prst="rect">
            <a:avLst/>
          </a:prstGeom>
          <a:noFill/>
        </p:spPr>
        <p:txBody>
          <a:bodyPr wrap="square" rtlCol="0">
            <a:spAutoFit/>
          </a:bodyPr>
          <a:lstStyle/>
          <a:p>
            <a:pPr marL="285750" lvl="0" indent="-285750">
              <a:buFont typeface="Arial" charset="0"/>
              <a:buChar char="•"/>
            </a:pPr>
            <a:r>
              <a:rPr lang="en-US" sz="1600" dirty="0"/>
              <a:t>Over the last decade more than </a:t>
            </a:r>
            <a:r>
              <a:rPr lang="en-US" sz="1600" b="1" dirty="0"/>
              <a:t>1200</a:t>
            </a:r>
            <a:r>
              <a:rPr lang="en-US" sz="1600" dirty="0"/>
              <a:t> pedestrians and bicyclists died in work zones</a:t>
            </a:r>
          </a:p>
        </p:txBody>
      </p:sp>
      <p:sp>
        <p:nvSpPr>
          <p:cNvPr id="70" name="TextBox 69"/>
          <p:cNvSpPr txBox="1"/>
          <p:nvPr/>
        </p:nvSpPr>
        <p:spPr>
          <a:xfrm>
            <a:off x="6575648" y="5482979"/>
            <a:ext cx="483835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Such incidents also cost state economies to spend hundreds of </a:t>
            </a:r>
            <a:r>
              <a:rPr lang="en-US" sz="1600" b="1" dirty="0"/>
              <a:t>millions</a:t>
            </a:r>
            <a:r>
              <a:rPr lang="en-US" sz="1600" dirty="0"/>
              <a:t> of dollars </a:t>
            </a:r>
            <a:r>
              <a:rPr lang="en-US" sz="1600" dirty="0" smtClean="0"/>
              <a:t>each year</a:t>
            </a:r>
            <a:endParaRPr lang="en-US" sz="1600" dirty="0">
              <a:solidFill>
                <a:schemeClr val="accent2"/>
              </a:solidFill>
            </a:endParaRPr>
          </a:p>
        </p:txBody>
      </p:sp>
    </p:spTree>
    <p:extLst>
      <p:ext uri="{BB962C8B-B14F-4D97-AF65-F5344CB8AC3E}">
        <p14:creationId xmlns:p14="http://schemas.microsoft.com/office/powerpoint/2010/main" val="8777076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Pricing and Revenue</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14</a:t>
            </a:fld>
            <a:endParaRPr lang="en-CA"/>
          </a:p>
        </p:txBody>
      </p:sp>
    </p:spTree>
    <p:extLst>
      <p:ext uri="{BB962C8B-B14F-4D97-AF65-F5344CB8AC3E}">
        <p14:creationId xmlns:p14="http://schemas.microsoft.com/office/powerpoint/2010/main" val="17049591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44882" y="3470786"/>
            <a:ext cx="9611572" cy="2441052"/>
            <a:chOff x="3033376" y="2574637"/>
            <a:chExt cx="7823077" cy="969386"/>
          </a:xfrm>
        </p:grpSpPr>
        <p:sp>
          <p:nvSpPr>
            <p:cNvPr id="85" name="Rectangle 4"/>
            <p:cNvSpPr>
              <a:spLocks noChangeArrowheads="1"/>
            </p:cNvSpPr>
            <p:nvPr/>
          </p:nvSpPr>
          <p:spPr bwMode="gray">
            <a:xfrm>
              <a:off x="3033376" y="2574637"/>
              <a:ext cx="7823077" cy="253797"/>
            </a:xfrm>
            <a:prstGeom prst="rect">
              <a:avLst/>
            </a:prstGeom>
            <a:solidFill>
              <a:schemeClr val="tx1">
                <a:lumMod val="60000"/>
                <a:lumOff val="40000"/>
              </a:schemeClr>
            </a:solidFill>
            <a:ln>
              <a:noFill/>
            </a:ln>
            <a:effectLst/>
            <a:extLst/>
          </p:spPr>
          <p:txBody>
            <a:bodyPr wrap="none" anchor="ctr"/>
            <a:lstStyle/>
            <a:p>
              <a:r>
                <a:rPr lang="en-US" sz="1400" b="1" dirty="0" smtClean="0">
                  <a:solidFill>
                    <a:srgbClr val="454545"/>
                  </a:solidFill>
                </a:rPr>
                <a:t>Revenue Model</a:t>
              </a:r>
              <a:endParaRPr lang="en-US" sz="1400" b="1" dirty="0">
                <a:solidFill>
                  <a:srgbClr val="454545"/>
                </a:solidFill>
              </a:endParaRPr>
            </a:p>
          </p:txBody>
        </p:sp>
        <p:sp>
          <p:nvSpPr>
            <p:cNvPr id="87" name="TextBox 86"/>
            <p:cNvSpPr txBox="1"/>
            <p:nvPr/>
          </p:nvSpPr>
          <p:spPr>
            <a:xfrm>
              <a:off x="3033376" y="2908460"/>
              <a:ext cx="7823077" cy="635563"/>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Annual revenue from accounts </a:t>
              </a:r>
              <a:r>
                <a:rPr lang="mr-IN" sz="1400" dirty="0" smtClean="0">
                  <a:solidFill>
                    <a:srgbClr val="454545"/>
                  </a:solidFill>
                </a:rPr>
                <a:t>–</a:t>
              </a:r>
              <a:r>
                <a:rPr lang="en-US" sz="1400" dirty="0" smtClean="0">
                  <a:solidFill>
                    <a:srgbClr val="454545"/>
                  </a:solidFill>
                </a:rPr>
                <a:t> Construction companies and Governments</a:t>
              </a:r>
              <a:endParaRPr lang="en-US" sz="1400" dirty="0">
                <a:solidFill>
                  <a:srgbClr val="454545"/>
                </a:solidFill>
              </a:endParaRPr>
            </a:p>
            <a:p>
              <a:pPr marL="285750" indent="-285750">
                <a:buFont typeface="Arial" panose="020B0604020202020204" pitchFamily="34" charset="0"/>
                <a:buChar char="•"/>
              </a:pPr>
              <a:r>
                <a:rPr lang="en-US" sz="1400" dirty="0" smtClean="0">
                  <a:solidFill>
                    <a:srgbClr val="454545"/>
                  </a:solidFill>
                </a:rPr>
                <a:t>Join partnership with construction firms or material suppliers for advertising</a:t>
              </a:r>
              <a:endParaRPr lang="en-US" sz="1400" dirty="0">
                <a:solidFill>
                  <a:srgbClr val="454545"/>
                </a:solidFill>
              </a:endParaRPr>
            </a:p>
            <a:p>
              <a:pPr marL="285750" indent="-285750">
                <a:buFont typeface="Arial" panose="020B0604020202020204" pitchFamily="34" charset="0"/>
                <a:buChar char="•"/>
              </a:pPr>
              <a:r>
                <a:rPr lang="en-US" sz="1400" dirty="0" smtClean="0">
                  <a:solidFill>
                    <a:srgbClr val="454545"/>
                  </a:solidFill>
                </a:rPr>
                <a:t>Partnership with local Governments to promote Smart City and Smart construction</a:t>
              </a:r>
            </a:p>
            <a:p>
              <a:pPr marL="742950" lvl="1" indent="-285750">
                <a:buFont typeface="Arial" panose="020B0604020202020204" pitchFamily="34" charset="0"/>
                <a:buChar char="•"/>
              </a:pPr>
              <a:r>
                <a:rPr lang="en-US" sz="1400" dirty="0" smtClean="0">
                  <a:solidFill>
                    <a:srgbClr val="454545"/>
                  </a:solidFill>
                </a:rPr>
                <a:t>Prevent traffic congestion, pedestrian injuries, law suits, and save time for both Government and Construction companies</a:t>
              </a:r>
            </a:p>
            <a:p>
              <a:pPr marL="742950" lvl="1" indent="-285750">
                <a:buFont typeface="Arial" panose="020B0604020202020204" pitchFamily="34" charset="0"/>
                <a:buChar char="•"/>
              </a:pPr>
              <a:r>
                <a:rPr lang="en-US" sz="1400" dirty="0" smtClean="0">
                  <a:solidFill>
                    <a:srgbClr val="454545"/>
                  </a:solidFill>
                </a:rPr>
                <a:t>Get a small percentage of environmental clean up costs by helping the Government with environment clean-up in relation to construction sites</a:t>
              </a:r>
            </a:p>
          </p:txBody>
        </p:sp>
      </p:grpSp>
      <p:sp>
        <p:nvSpPr>
          <p:cNvPr id="3" name="Title 2"/>
          <p:cNvSpPr>
            <a:spLocks noGrp="1"/>
          </p:cNvSpPr>
          <p:nvPr>
            <p:ph type="title"/>
          </p:nvPr>
        </p:nvSpPr>
        <p:spPr/>
        <p:txBody>
          <a:bodyPr/>
          <a:lstStyle/>
          <a:p>
            <a:r>
              <a:rPr lang="en-US" dirty="0" smtClean="0"/>
              <a:t>Current Vision </a:t>
            </a:r>
            <a:r>
              <a:rPr lang="en-US" dirty="0"/>
              <a:t>| </a:t>
            </a:r>
            <a:r>
              <a:rPr lang="en-US" dirty="0" smtClean="0"/>
              <a:t>Pricing and Revenue </a:t>
            </a:r>
            <a:endParaRPr lang="en-US" dirty="0"/>
          </a:p>
        </p:txBody>
      </p:sp>
      <p:sp>
        <p:nvSpPr>
          <p:cNvPr id="21" name="Slide Number Placeholder 1"/>
          <p:cNvSpPr txBox="1">
            <a:spLocks/>
          </p:cNvSpPr>
          <p:nvPr/>
        </p:nvSpPr>
        <p:spPr>
          <a:xfrm>
            <a:off x="11558854" y="6430257"/>
            <a:ext cx="329636"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a:t>2</a:t>
            </a:r>
          </a:p>
        </p:txBody>
      </p:sp>
      <p:grpSp>
        <p:nvGrpSpPr>
          <p:cNvPr id="20" name="Group 19"/>
          <p:cNvGrpSpPr/>
          <p:nvPr/>
        </p:nvGrpSpPr>
        <p:grpSpPr>
          <a:xfrm>
            <a:off x="1244882" y="1136489"/>
            <a:ext cx="9611572" cy="1465239"/>
            <a:chOff x="3033376" y="2574637"/>
            <a:chExt cx="7823077" cy="673199"/>
          </a:xfrm>
        </p:grpSpPr>
        <p:sp>
          <p:nvSpPr>
            <p:cNvPr id="22" name="Rectangle 4"/>
            <p:cNvSpPr>
              <a:spLocks noChangeArrowheads="1"/>
            </p:cNvSpPr>
            <p:nvPr/>
          </p:nvSpPr>
          <p:spPr bwMode="gray">
            <a:xfrm>
              <a:off x="3033376" y="2574637"/>
              <a:ext cx="7823077" cy="253797"/>
            </a:xfrm>
            <a:prstGeom prst="rect">
              <a:avLst/>
            </a:prstGeom>
            <a:solidFill>
              <a:schemeClr val="tx1">
                <a:lumMod val="60000"/>
                <a:lumOff val="40000"/>
              </a:schemeClr>
            </a:solidFill>
            <a:ln>
              <a:noFill/>
            </a:ln>
            <a:effectLst/>
            <a:extLst/>
          </p:spPr>
          <p:txBody>
            <a:bodyPr wrap="none" anchor="ctr"/>
            <a:lstStyle/>
            <a:p>
              <a:r>
                <a:rPr lang="en-US" sz="1400" b="1" dirty="0" smtClean="0">
                  <a:solidFill>
                    <a:srgbClr val="454545"/>
                  </a:solidFill>
                </a:rPr>
                <a:t>Pricing Strategy</a:t>
              </a:r>
              <a:endParaRPr lang="en-US" sz="1400" b="1" dirty="0">
                <a:solidFill>
                  <a:srgbClr val="454545"/>
                </a:solidFill>
              </a:endParaRPr>
            </a:p>
          </p:txBody>
        </p:sp>
        <p:sp>
          <p:nvSpPr>
            <p:cNvPr id="23" name="TextBox 22"/>
            <p:cNvSpPr txBox="1"/>
            <p:nvPr/>
          </p:nvSpPr>
          <p:spPr>
            <a:xfrm>
              <a:off x="3033376" y="2908459"/>
              <a:ext cx="7823077" cy="339377"/>
            </a:xfrm>
            <a:prstGeom prst="rect">
              <a:avLst/>
            </a:prstGeom>
            <a:noFill/>
          </p:spPr>
          <p:txBody>
            <a:bodyPr wrap="square" rtlCol="0">
              <a:spAutoFit/>
            </a:bodyPr>
            <a:lstStyle/>
            <a:p>
              <a:pPr marL="285750" indent="-285750">
                <a:buFont typeface="Arial" panose="020B0604020202020204" pitchFamily="34" charset="0"/>
                <a:buChar char="•"/>
              </a:pPr>
              <a:r>
                <a:rPr lang="en-US" sz="1400" b="1" dirty="0" smtClean="0">
                  <a:solidFill>
                    <a:srgbClr val="454545"/>
                  </a:solidFill>
                </a:rPr>
                <a:t>Annual Licensing fee: </a:t>
              </a:r>
              <a:r>
                <a:rPr lang="en-US" sz="1400" dirty="0" smtClean="0">
                  <a:solidFill>
                    <a:srgbClr val="454545"/>
                  </a:solidFill>
                </a:rPr>
                <a:t>For construction companies and local Governments</a:t>
              </a:r>
              <a:endParaRPr lang="en-US" sz="1400" dirty="0">
                <a:solidFill>
                  <a:srgbClr val="454545"/>
                </a:solidFill>
              </a:endParaRPr>
            </a:p>
            <a:p>
              <a:pPr marL="285750" indent="-285750">
                <a:buFont typeface="Arial" panose="020B0604020202020204" pitchFamily="34" charset="0"/>
                <a:buChar char="•"/>
              </a:pPr>
              <a:r>
                <a:rPr lang="en-US" sz="1400" b="1" dirty="0" smtClean="0">
                  <a:solidFill>
                    <a:srgbClr val="454545"/>
                  </a:solidFill>
                </a:rPr>
                <a:t>Add-on fees:</a:t>
              </a:r>
              <a:r>
                <a:rPr lang="en-US" sz="1400" dirty="0" smtClean="0">
                  <a:solidFill>
                    <a:srgbClr val="454545"/>
                  </a:solidFill>
                </a:rPr>
                <a:t> For Enhanced Analytics and additional features for firms that opt for it</a:t>
              </a:r>
            </a:p>
            <a:p>
              <a:pPr marL="285750" indent="-285750">
                <a:buFont typeface="Arial" panose="020B0604020202020204" pitchFamily="34" charset="0"/>
                <a:buChar char="•"/>
              </a:pPr>
              <a:r>
                <a:rPr lang="en-US" sz="1400" b="1" dirty="0" smtClean="0">
                  <a:solidFill>
                    <a:srgbClr val="454545"/>
                  </a:solidFill>
                </a:rPr>
                <a:t>Partnerships and Joint Ventures</a:t>
              </a:r>
            </a:p>
          </p:txBody>
        </p:sp>
      </p:grpSp>
    </p:spTree>
    <p:extLst>
      <p:ext uri="{BB962C8B-B14F-4D97-AF65-F5344CB8AC3E}">
        <p14:creationId xmlns:p14="http://schemas.microsoft.com/office/powerpoint/2010/main" val="9120644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Financing</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16</a:t>
            </a:fld>
            <a:endParaRPr lang="en-CA"/>
          </a:p>
        </p:txBody>
      </p:sp>
    </p:spTree>
    <p:extLst>
      <p:ext uri="{BB962C8B-B14F-4D97-AF65-F5344CB8AC3E}">
        <p14:creationId xmlns:p14="http://schemas.microsoft.com/office/powerpoint/2010/main" val="13738632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33"/>
          <p:cNvSpPr>
            <a:spLocks noGrp="1"/>
          </p:cNvSpPr>
          <p:nvPr>
            <p:ph type="title"/>
          </p:nvPr>
        </p:nvSpPr>
        <p:spPr>
          <a:xfrm>
            <a:off x="511885" y="182563"/>
            <a:ext cx="9193128" cy="914400"/>
          </a:xfrm>
        </p:spPr>
        <p:txBody>
          <a:bodyPr vert="horz" lIns="0" tIns="0" rIns="0" bIns="0" rtlCol="0" anchor="ctr" anchorCtr="0">
            <a:noAutofit/>
          </a:bodyPr>
          <a:lstStyle/>
          <a:p>
            <a:r>
              <a:rPr lang="en-US" dirty="0" smtClean="0"/>
              <a:t>Current Vision </a:t>
            </a:r>
            <a:r>
              <a:rPr lang="en-US" dirty="0"/>
              <a:t>| </a:t>
            </a:r>
            <a:r>
              <a:rPr lang="en-US" dirty="0" smtClean="0"/>
              <a:t>Valuation</a:t>
            </a:r>
            <a:endParaRPr lang="en-US" dirty="0"/>
          </a:p>
        </p:txBody>
      </p:sp>
      <p:sp>
        <p:nvSpPr>
          <p:cNvPr id="180" name="Rectangle 179"/>
          <p:cNvSpPr/>
          <p:nvPr/>
        </p:nvSpPr>
        <p:spPr bwMode="gray">
          <a:xfrm>
            <a:off x="936796" y="4206054"/>
            <a:ext cx="4996752"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81" name="TextBox 180"/>
          <p:cNvSpPr txBox="1"/>
          <p:nvPr/>
        </p:nvSpPr>
        <p:spPr bwMode="gray">
          <a:xfrm>
            <a:off x="2137661" y="4022629"/>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t>Assumptions</a:t>
            </a:r>
            <a:endParaRPr kumimoji="0" lang="en-US" sz="1600" b="1" i="0" u="none" strike="noStrike" kern="0" cap="none" spc="0" normalizeH="0" baseline="0" noProof="0" dirty="0">
              <a:ln>
                <a:noFill/>
              </a:ln>
              <a:effectLst/>
              <a:uLnTx/>
              <a:uFillTx/>
            </a:endParaRPr>
          </a:p>
        </p:txBody>
      </p:sp>
      <p:sp>
        <p:nvSpPr>
          <p:cNvPr id="182" name="Rectangle 181"/>
          <p:cNvSpPr/>
          <p:nvPr/>
        </p:nvSpPr>
        <p:spPr bwMode="gray">
          <a:xfrm>
            <a:off x="6428509" y="4206055"/>
            <a:ext cx="5150308"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effectLst/>
              <a:uLnTx/>
              <a:uFillTx/>
            </a:endParaRPr>
          </a:p>
        </p:txBody>
      </p:sp>
      <p:sp>
        <p:nvSpPr>
          <p:cNvPr id="183" name="TextBox 182"/>
          <p:cNvSpPr txBox="1"/>
          <p:nvPr/>
        </p:nvSpPr>
        <p:spPr bwMode="gray">
          <a:xfrm>
            <a:off x="8566753" y="4043116"/>
            <a:ext cx="1381339" cy="338554"/>
          </a:xfrm>
          <a:prstGeom prst="rect">
            <a:avLst/>
          </a:prstGeom>
          <a:solidFill>
            <a:sysClr val="window" lastClr="FFFFFF"/>
          </a:solidFill>
        </p:spPr>
        <p:txBody>
          <a:bodyPr wrap="square" rtlCol="0" anchor="ctr">
            <a:spAutoFit/>
          </a:bodyPr>
          <a:lstStyle/>
          <a:p>
            <a:pPr lvl="0" algn="ctr">
              <a:defRPr/>
            </a:pPr>
            <a:r>
              <a:rPr lang="en-US" sz="1600" b="1" kern="0" dirty="0"/>
              <a:t>Key Risks</a:t>
            </a:r>
          </a:p>
        </p:txBody>
      </p:sp>
      <p:sp>
        <p:nvSpPr>
          <p:cNvPr id="184" name="TextBox 183"/>
          <p:cNvSpPr txBox="1"/>
          <p:nvPr/>
        </p:nvSpPr>
        <p:spPr>
          <a:xfrm>
            <a:off x="1095198" y="4485838"/>
            <a:ext cx="4838350" cy="338554"/>
          </a:xfrm>
          <a:prstGeom prst="rect">
            <a:avLst/>
          </a:prstGeom>
          <a:noFill/>
        </p:spPr>
        <p:txBody>
          <a:bodyPr wrap="square" rtlCol="0">
            <a:spAutoFit/>
          </a:bodyPr>
          <a:lstStyle/>
          <a:p>
            <a:pPr marL="285750" marR="0" lvl="0" indent="-285750" defTabSz="457200" eaLnBrk="1" fontAlgn="auto" latinLnBrk="0" hangingPunct="1">
              <a:lnSpc>
                <a:spcPct val="100000"/>
              </a:lnSpc>
              <a:spcBef>
                <a:spcPts val="0"/>
              </a:spcBef>
              <a:spcAft>
                <a:spcPts val="0"/>
              </a:spcAft>
              <a:buClrTx/>
              <a:buSzTx/>
              <a:buFont typeface="Arial" charset="0"/>
              <a:buChar char="•"/>
              <a:tabLst/>
              <a:defRPr/>
            </a:pPr>
            <a:r>
              <a:rPr lang="en-US" sz="1600" dirty="0" smtClean="0">
                <a:solidFill>
                  <a:schemeClr val="accent2"/>
                </a:solidFill>
              </a:rPr>
              <a:t>Licensing fee of $10,000 per annum </a:t>
            </a:r>
            <a:endParaRPr lang="en-US" sz="1600" dirty="0">
              <a:solidFill>
                <a:schemeClr val="accent2"/>
              </a:solidFill>
            </a:endParaRPr>
          </a:p>
        </p:txBody>
      </p:sp>
      <p:sp>
        <p:nvSpPr>
          <p:cNvPr id="185" name="TextBox 184"/>
          <p:cNvSpPr txBox="1"/>
          <p:nvPr/>
        </p:nvSpPr>
        <p:spPr>
          <a:xfrm>
            <a:off x="1095198" y="5445924"/>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GE Current Sensors are being installed throughout major cities in the United States</a:t>
            </a:r>
            <a:endParaRPr lang="en-US" sz="1600" dirty="0">
              <a:solidFill>
                <a:schemeClr val="accent2"/>
              </a:solidFill>
            </a:endParaRPr>
          </a:p>
        </p:txBody>
      </p:sp>
      <p:sp>
        <p:nvSpPr>
          <p:cNvPr id="193" name="TextBox 192"/>
          <p:cNvSpPr txBox="1"/>
          <p:nvPr/>
        </p:nvSpPr>
        <p:spPr>
          <a:xfrm>
            <a:off x="6574138" y="4375889"/>
            <a:ext cx="4692720" cy="830997"/>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Downturn in the labor market or in similar Macro-related areas that impact the construction industry both directly and indirectly</a:t>
            </a:r>
            <a:endParaRPr lang="en-US" sz="1600" dirty="0"/>
          </a:p>
        </p:txBody>
      </p:sp>
      <p:sp>
        <p:nvSpPr>
          <p:cNvPr id="194" name="TextBox 193"/>
          <p:cNvSpPr txBox="1"/>
          <p:nvPr/>
        </p:nvSpPr>
        <p:spPr>
          <a:xfrm>
            <a:off x="6574138" y="5731974"/>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Quick entry to market by competitors </a:t>
            </a:r>
            <a:endParaRPr lang="en-US" sz="1600" dirty="0">
              <a:solidFill>
                <a:schemeClr val="accent2"/>
              </a:solidFill>
            </a:endParaRPr>
          </a:p>
        </p:txBody>
      </p:sp>
      <p:sp>
        <p:nvSpPr>
          <p:cNvPr id="42" name="Slide Number Placeholder 1"/>
          <p:cNvSpPr>
            <a:spLocks noGrp="1"/>
          </p:cNvSpPr>
          <p:nvPr>
            <p:ph type="sldNum" sz="quarter" idx="12"/>
          </p:nvPr>
        </p:nvSpPr>
        <p:spPr>
          <a:xfrm>
            <a:off x="11413998" y="6475080"/>
            <a:ext cx="329636" cy="182880"/>
          </a:xfrm>
        </p:spPr>
        <p:txBody>
          <a:bodyPr/>
          <a:lstStyle/>
          <a:p>
            <a:r>
              <a:rPr lang="en-CA" dirty="0"/>
              <a:t>6</a:t>
            </a:r>
          </a:p>
        </p:txBody>
      </p:sp>
      <p:sp>
        <p:nvSpPr>
          <p:cNvPr id="66" name="TextBox 65"/>
          <p:cNvSpPr txBox="1"/>
          <p:nvPr/>
        </p:nvSpPr>
        <p:spPr>
          <a:xfrm>
            <a:off x="6574138" y="5153537"/>
            <a:ext cx="4793425"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Exponentially attracting new construction companies as clients to use the product</a:t>
            </a:r>
            <a:endParaRPr lang="en-US" sz="1600" dirty="0">
              <a:solidFill>
                <a:schemeClr val="accent2"/>
              </a:solidFill>
            </a:endParaRPr>
          </a:p>
        </p:txBody>
      </p:sp>
      <p:sp>
        <p:nvSpPr>
          <p:cNvPr id="69" name="Rectangle 68"/>
          <p:cNvSpPr/>
          <p:nvPr/>
        </p:nvSpPr>
        <p:spPr bwMode="gray">
          <a:xfrm>
            <a:off x="6428509" y="1011995"/>
            <a:ext cx="5150308" cy="2668971"/>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effectLst/>
              <a:uLnTx/>
              <a:uFillTx/>
            </a:endParaRPr>
          </a:p>
        </p:txBody>
      </p:sp>
      <p:sp>
        <p:nvSpPr>
          <p:cNvPr id="70" name="TextBox 69"/>
          <p:cNvSpPr txBox="1"/>
          <p:nvPr/>
        </p:nvSpPr>
        <p:spPr bwMode="gray">
          <a:xfrm>
            <a:off x="8323674" y="809711"/>
            <a:ext cx="1381339" cy="338554"/>
          </a:xfrm>
          <a:prstGeom prst="rect">
            <a:avLst/>
          </a:prstGeom>
          <a:solidFill>
            <a:sysClr val="window" lastClr="FFFFFF"/>
          </a:solidFill>
        </p:spPr>
        <p:txBody>
          <a:bodyPr wrap="square" rtlCol="0" anchor="ctr">
            <a:spAutoFit/>
          </a:bodyPr>
          <a:lstStyle/>
          <a:p>
            <a:pPr lvl="0" algn="ctr">
              <a:defRPr/>
            </a:pPr>
            <a:r>
              <a:rPr lang="en-US" sz="1600" b="1" kern="0" dirty="0" smtClean="0"/>
              <a:t>Methodology</a:t>
            </a:r>
            <a:endParaRPr lang="en-US" sz="1600" b="1" kern="0" dirty="0"/>
          </a:p>
        </p:txBody>
      </p:sp>
      <p:sp>
        <p:nvSpPr>
          <p:cNvPr id="71" name="TextBox 70"/>
          <p:cNvSpPr txBox="1"/>
          <p:nvPr/>
        </p:nvSpPr>
        <p:spPr>
          <a:xfrm>
            <a:off x="6657303" y="1318921"/>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To estimate Current Vision’s valuation, we used Net Income as a proxy for Cash Flow</a:t>
            </a:r>
          </a:p>
        </p:txBody>
      </p:sp>
      <p:pic>
        <p:nvPicPr>
          <p:cNvPr id="3" name="Picture 2"/>
          <p:cNvPicPr>
            <a:picLocks noChangeAspect="1"/>
          </p:cNvPicPr>
          <p:nvPr/>
        </p:nvPicPr>
        <p:blipFill>
          <a:blip r:embed="rId3"/>
          <a:stretch>
            <a:fillRect/>
          </a:stretch>
        </p:blipFill>
        <p:spPr>
          <a:xfrm>
            <a:off x="936796" y="969399"/>
            <a:ext cx="5188120" cy="2776409"/>
          </a:xfrm>
          <a:prstGeom prst="rect">
            <a:avLst/>
          </a:prstGeom>
        </p:spPr>
      </p:pic>
      <p:sp>
        <p:nvSpPr>
          <p:cNvPr id="72" name="TextBox 71"/>
          <p:cNvSpPr txBox="1"/>
          <p:nvPr/>
        </p:nvSpPr>
        <p:spPr>
          <a:xfrm>
            <a:off x="6657303" y="1907880"/>
            <a:ext cx="4692720" cy="1077218"/>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After developing 5 year projections, we performed a Discounted Cash Flow (DCF) Analysis to determine the company’s present valuation</a:t>
            </a:r>
          </a:p>
        </p:txBody>
      </p:sp>
      <p:sp>
        <p:nvSpPr>
          <p:cNvPr id="73" name="TextBox 72"/>
          <p:cNvSpPr txBox="1"/>
          <p:nvPr/>
        </p:nvSpPr>
        <p:spPr>
          <a:xfrm>
            <a:off x="1088812" y="4972349"/>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10% discount rate (software industry average)</a:t>
            </a:r>
            <a:endParaRPr lang="en-US" sz="1600" dirty="0">
              <a:solidFill>
                <a:schemeClr val="accent2"/>
              </a:solidFill>
            </a:endParaRPr>
          </a:p>
        </p:txBody>
      </p:sp>
      <p:sp>
        <p:nvSpPr>
          <p:cNvPr id="74" name="TextBox 73"/>
          <p:cNvSpPr txBox="1"/>
          <p:nvPr/>
        </p:nvSpPr>
        <p:spPr>
          <a:xfrm>
            <a:off x="6657303" y="2978760"/>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u="sng" dirty="0" smtClean="0">
                <a:solidFill>
                  <a:schemeClr val="accent2"/>
                </a:solidFill>
              </a:rPr>
              <a:t>Disclaimer:</a:t>
            </a:r>
            <a:r>
              <a:rPr lang="en-US" sz="1600" dirty="0" smtClean="0">
                <a:solidFill>
                  <a:schemeClr val="accent2"/>
                </a:solidFill>
              </a:rPr>
              <a:t> This is a simplified DCF that does not incorporate all aspects of an extensive model </a:t>
            </a:r>
            <a:endParaRPr lang="en-US" sz="1600" u="sng" dirty="0" smtClean="0">
              <a:solidFill>
                <a:schemeClr val="accent2"/>
              </a:solidFill>
            </a:endParaRPr>
          </a:p>
        </p:txBody>
      </p:sp>
    </p:spTree>
    <p:extLst>
      <p:ext uri="{BB962C8B-B14F-4D97-AF65-F5344CB8AC3E}">
        <p14:creationId xmlns:p14="http://schemas.microsoft.com/office/powerpoint/2010/main" val="5391819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Financial Forecast</a:t>
            </a:r>
            <a:endParaRPr lang="en-US" dirty="0"/>
          </a:p>
        </p:txBody>
      </p:sp>
      <p:sp>
        <p:nvSpPr>
          <p:cNvPr id="18" name="Rectangle 17"/>
          <p:cNvSpPr/>
          <p:nvPr/>
        </p:nvSpPr>
        <p:spPr bwMode="gray">
          <a:xfrm>
            <a:off x="533399" y="1280160"/>
            <a:ext cx="11210235" cy="4784381"/>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18</a:t>
            </a:fld>
            <a:endParaRPr lang="en-CA" dirty="0"/>
          </a:p>
        </p:txBody>
      </p:sp>
      <p:sp>
        <p:nvSpPr>
          <p:cNvPr id="82" name="TextBox 81"/>
          <p:cNvSpPr txBox="1"/>
          <p:nvPr/>
        </p:nvSpPr>
        <p:spPr>
          <a:xfrm>
            <a:off x="693434" y="2020520"/>
            <a:ext cx="3727960" cy="830997"/>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Using conservative projections, we derived a linear growth pattern for the near short term </a:t>
            </a:r>
            <a:endParaRPr lang="en-US" sz="1600" dirty="0"/>
          </a:p>
        </p:txBody>
      </p:sp>
      <p:graphicFrame>
        <p:nvGraphicFramePr>
          <p:cNvPr id="15" name="Chart 14"/>
          <p:cNvGraphicFramePr>
            <a:graphicFrameLocks/>
          </p:cNvGraphicFramePr>
          <p:nvPr>
            <p:extLst>
              <p:ext uri="{D42A27DB-BD31-4B8C-83A1-F6EECF244321}">
                <p14:modId xmlns:p14="http://schemas.microsoft.com/office/powerpoint/2010/main" val="1265768163"/>
              </p:ext>
            </p:extLst>
          </p:nvPr>
        </p:nvGraphicFramePr>
        <p:xfrm>
          <a:off x="4925217" y="1783833"/>
          <a:ext cx="5950763" cy="3853174"/>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693434" y="3294921"/>
            <a:ext cx="3727960" cy="1323439"/>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Break even is forecasted to be achieved shortly after Year 2. Using slightly more aggressive figures, it can be reached slightly prior to Year 2 as well</a:t>
            </a:r>
            <a:endParaRPr lang="en-US" sz="1600" dirty="0"/>
          </a:p>
        </p:txBody>
      </p:sp>
    </p:spTree>
    <p:extLst>
      <p:ext uri="{BB962C8B-B14F-4D97-AF65-F5344CB8AC3E}">
        <p14:creationId xmlns:p14="http://schemas.microsoft.com/office/powerpoint/2010/main" val="113070973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The Ask</a:t>
            </a:r>
            <a:endParaRPr lang="en-US" dirty="0"/>
          </a:p>
        </p:txBody>
      </p:sp>
      <p:sp>
        <p:nvSpPr>
          <p:cNvPr id="18" name="Rectangle 17"/>
          <p:cNvSpPr/>
          <p:nvPr/>
        </p:nvSpPr>
        <p:spPr bwMode="gray">
          <a:xfrm>
            <a:off x="533399" y="1578505"/>
            <a:ext cx="7050741" cy="4163927"/>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9" name="TextBox 18"/>
          <p:cNvSpPr txBox="1"/>
          <p:nvPr/>
        </p:nvSpPr>
        <p:spPr bwMode="gray">
          <a:xfrm>
            <a:off x="1991738" y="1409226"/>
            <a:ext cx="4114800"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t>Resources needed </a:t>
            </a:r>
            <a:r>
              <a:rPr lang="en-US" sz="1600" b="1" kern="0" dirty="0" smtClean="0"/>
              <a:t>for project completion</a:t>
            </a:r>
            <a:endParaRPr kumimoji="0" lang="en-US" sz="1600" b="1" i="0" u="none" strike="noStrike" kern="0" cap="none" spc="0" normalizeH="0" baseline="0" noProof="0" dirty="0">
              <a:ln>
                <a:noFill/>
              </a:ln>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19</a:t>
            </a:fld>
            <a:endParaRPr lang="en-CA" dirty="0"/>
          </a:p>
        </p:txBody>
      </p:sp>
      <p:sp>
        <p:nvSpPr>
          <p:cNvPr id="82" name="TextBox 81"/>
          <p:cNvSpPr txBox="1"/>
          <p:nvPr/>
        </p:nvSpPr>
        <p:spPr>
          <a:xfrm>
            <a:off x="693433" y="2020520"/>
            <a:ext cx="6677185" cy="1200329"/>
          </a:xfrm>
          <a:prstGeom prst="rect">
            <a:avLst/>
          </a:prstGeom>
          <a:noFill/>
        </p:spPr>
        <p:txBody>
          <a:bodyPr wrap="square" rtlCol="0">
            <a:spAutoFit/>
          </a:bodyPr>
          <a:lstStyle/>
          <a:p>
            <a:pPr marL="285750" indent="-285750" defTabSz="457200">
              <a:lnSpc>
                <a:spcPct val="150000"/>
              </a:lnSpc>
              <a:buFont typeface="Arial" panose="020B0604020202020204" pitchFamily="34" charset="0"/>
              <a:buChar char="•"/>
            </a:pPr>
            <a:r>
              <a:rPr lang="en-US" sz="1600" b="1" dirty="0"/>
              <a:t>Ownership/Investment </a:t>
            </a:r>
            <a:r>
              <a:rPr lang="mr-IN" sz="1600" b="1" dirty="0" smtClean="0"/>
              <a:t>–</a:t>
            </a:r>
            <a:r>
              <a:rPr lang="en-US" sz="1600" b="1" dirty="0" smtClean="0"/>
              <a:t> $20,000</a:t>
            </a:r>
            <a:r>
              <a:rPr lang="en-US" sz="1600" dirty="0" smtClean="0"/>
              <a:t> </a:t>
            </a:r>
          </a:p>
          <a:p>
            <a:pPr marL="742950" lvl="1" indent="-285750" defTabSz="457200">
              <a:lnSpc>
                <a:spcPct val="150000"/>
              </a:lnSpc>
              <a:buFont typeface="Arial" panose="020B0604020202020204" pitchFamily="34" charset="0"/>
              <a:buChar char="•"/>
            </a:pPr>
            <a:r>
              <a:rPr lang="en-US" sz="1600" b="1" dirty="0" smtClean="0"/>
              <a:t>Valuation</a:t>
            </a:r>
            <a:r>
              <a:rPr lang="en-US" sz="1600" dirty="0" smtClean="0"/>
              <a:t>: ~ $200,000</a:t>
            </a:r>
          </a:p>
          <a:p>
            <a:pPr marL="742950" lvl="1" indent="-285750" defTabSz="457200">
              <a:lnSpc>
                <a:spcPct val="150000"/>
              </a:lnSpc>
              <a:buFont typeface="Arial" panose="020B0604020202020204" pitchFamily="34" charset="0"/>
              <a:buChar char="•"/>
            </a:pPr>
            <a:r>
              <a:rPr lang="en-US" sz="1600" b="1" dirty="0" smtClean="0"/>
              <a:t>Stake</a:t>
            </a:r>
            <a:r>
              <a:rPr lang="en-US" sz="1600" dirty="0" smtClean="0"/>
              <a:t>: ~ 10% </a:t>
            </a:r>
            <a:endParaRPr lang="en-US" sz="1600" dirty="0"/>
          </a:p>
        </p:txBody>
      </p:sp>
      <p:sp>
        <p:nvSpPr>
          <p:cNvPr id="20" name="TextBox 19"/>
          <p:cNvSpPr txBox="1"/>
          <p:nvPr/>
        </p:nvSpPr>
        <p:spPr>
          <a:xfrm>
            <a:off x="655275" y="3696810"/>
            <a:ext cx="6677186" cy="1569660"/>
          </a:xfrm>
          <a:prstGeom prst="rect">
            <a:avLst/>
          </a:prstGeom>
          <a:noFill/>
        </p:spPr>
        <p:txBody>
          <a:bodyPr wrap="square" rtlCol="0">
            <a:spAutoFit/>
          </a:bodyPr>
          <a:lstStyle/>
          <a:p>
            <a:pPr marL="285750" indent="-285750" defTabSz="457200">
              <a:lnSpc>
                <a:spcPct val="150000"/>
              </a:lnSpc>
              <a:buFont typeface="Arial" panose="020B0604020202020204" pitchFamily="34" charset="0"/>
              <a:buChar char="•"/>
            </a:pPr>
            <a:r>
              <a:rPr lang="en-US" sz="1600" b="1" dirty="0" smtClean="0"/>
              <a:t>Additional Resources</a:t>
            </a:r>
          </a:p>
          <a:p>
            <a:pPr marL="742950" lvl="1" indent="-285750" defTabSz="457200">
              <a:lnSpc>
                <a:spcPct val="150000"/>
              </a:lnSpc>
              <a:buFont typeface="Arial" panose="020B0604020202020204" pitchFamily="34" charset="0"/>
              <a:buChar char="•"/>
            </a:pPr>
            <a:r>
              <a:rPr lang="en-US" sz="1600" dirty="0"/>
              <a:t>Predix Services with GE Current partnership</a:t>
            </a:r>
          </a:p>
          <a:p>
            <a:pPr marL="742950" lvl="1" indent="-285750" defTabSz="457200">
              <a:lnSpc>
                <a:spcPct val="150000"/>
              </a:lnSpc>
              <a:buFont typeface="Arial" panose="020B0604020202020204" pitchFamily="34" charset="0"/>
              <a:buChar char="•"/>
            </a:pPr>
            <a:r>
              <a:rPr lang="en-US" sz="1600" dirty="0" smtClean="0"/>
              <a:t>Marketing </a:t>
            </a:r>
            <a:r>
              <a:rPr lang="en-US" sz="1600" dirty="0"/>
              <a:t>and Sales Teams</a:t>
            </a:r>
          </a:p>
          <a:p>
            <a:pPr marL="742950" lvl="1" indent="-285750" defTabSz="457200">
              <a:lnSpc>
                <a:spcPct val="150000"/>
              </a:lnSpc>
              <a:buFont typeface="Arial" panose="020B0604020202020204" pitchFamily="34" charset="0"/>
              <a:buChar char="•"/>
            </a:pPr>
            <a:r>
              <a:rPr lang="en-US" sz="1600" dirty="0" smtClean="0"/>
              <a:t>Access to all GE Current Sensors via their APIs</a:t>
            </a:r>
            <a:endParaRPr lang="en-US" sz="16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3026" y="2298520"/>
            <a:ext cx="2723896" cy="2723896"/>
          </a:xfrm>
          <a:prstGeom prst="rect">
            <a:avLst/>
          </a:prstGeom>
        </p:spPr>
      </p:pic>
    </p:spTree>
    <p:extLst>
      <p:ext uri="{BB962C8B-B14F-4D97-AF65-F5344CB8AC3E}">
        <p14:creationId xmlns:p14="http://schemas.microsoft.com/office/powerpoint/2010/main" val="634014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Org Structure</a:t>
            </a:r>
            <a:endParaRPr lang="en-US" dirty="0"/>
          </a:p>
        </p:txBody>
      </p:sp>
      <p:sp>
        <p:nvSpPr>
          <p:cNvPr id="2" name="Slide Number Placeholder 1"/>
          <p:cNvSpPr>
            <a:spLocks noGrp="1"/>
          </p:cNvSpPr>
          <p:nvPr>
            <p:ph type="sldNum" sz="quarter" idx="12"/>
          </p:nvPr>
        </p:nvSpPr>
        <p:spPr/>
        <p:txBody>
          <a:bodyPr/>
          <a:lstStyle/>
          <a:p>
            <a:fld id="{00E6A5BD-C011-4A45-AA3A-201790FB7F2B}" type="slidenum">
              <a:rPr lang="en-CA" smtClean="0"/>
              <a:t>2</a:t>
            </a:fld>
            <a:endParaRPr lang="en-CA" dirty="0"/>
          </a:p>
        </p:txBody>
      </p:sp>
      <p:sp>
        <p:nvSpPr>
          <p:cNvPr id="3" name="TextBox 2"/>
          <p:cNvSpPr txBox="1"/>
          <p:nvPr/>
        </p:nvSpPr>
        <p:spPr>
          <a:xfrm>
            <a:off x="832302" y="3054096"/>
            <a:ext cx="1224694" cy="553998"/>
          </a:xfrm>
          <a:prstGeom prst="rect">
            <a:avLst/>
          </a:prstGeom>
          <a:noFill/>
        </p:spPr>
        <p:txBody>
          <a:bodyPr wrap="none" lIns="0" tIns="0" rIns="0" bIns="0" rtlCol="0">
            <a:spAutoFit/>
          </a:bodyPr>
          <a:lstStyle/>
          <a:p>
            <a:pPr algn="ctr"/>
            <a:r>
              <a:rPr lang="en-US" dirty="0" smtClean="0">
                <a:solidFill>
                  <a:schemeClr val="accent2"/>
                </a:solidFill>
              </a:rPr>
              <a:t>CCO</a:t>
            </a:r>
          </a:p>
          <a:p>
            <a:pPr algn="ctr"/>
            <a:r>
              <a:rPr lang="en-US" dirty="0" smtClean="0">
                <a:solidFill>
                  <a:schemeClr val="accent2"/>
                </a:solidFill>
              </a:rPr>
              <a:t>Yash Nimkar</a:t>
            </a:r>
          </a:p>
        </p:txBody>
      </p:sp>
      <p:sp>
        <p:nvSpPr>
          <p:cNvPr id="7" name="TextBox 6"/>
          <p:cNvSpPr txBox="1"/>
          <p:nvPr/>
        </p:nvSpPr>
        <p:spPr>
          <a:xfrm>
            <a:off x="2970266" y="3026664"/>
            <a:ext cx="973023" cy="553998"/>
          </a:xfrm>
          <a:prstGeom prst="rect">
            <a:avLst/>
          </a:prstGeom>
          <a:noFill/>
        </p:spPr>
        <p:txBody>
          <a:bodyPr wrap="none" lIns="0" tIns="0" rIns="0" bIns="0" rtlCol="0">
            <a:spAutoFit/>
          </a:bodyPr>
          <a:lstStyle/>
          <a:p>
            <a:pPr algn="ctr"/>
            <a:r>
              <a:rPr lang="en-US" dirty="0" smtClean="0">
                <a:solidFill>
                  <a:schemeClr val="accent2"/>
                </a:solidFill>
              </a:rPr>
              <a:t>CCO</a:t>
            </a:r>
          </a:p>
          <a:p>
            <a:pPr algn="ctr"/>
            <a:r>
              <a:rPr lang="en-US" dirty="0" smtClean="0">
                <a:solidFill>
                  <a:schemeClr val="accent2"/>
                </a:solidFill>
              </a:rPr>
              <a:t>Jay Kabra</a:t>
            </a:r>
          </a:p>
        </p:txBody>
      </p:sp>
      <p:sp>
        <p:nvSpPr>
          <p:cNvPr id="8" name="TextBox 7"/>
          <p:cNvSpPr txBox="1"/>
          <p:nvPr/>
        </p:nvSpPr>
        <p:spPr>
          <a:xfrm>
            <a:off x="6503810" y="2993617"/>
            <a:ext cx="1671933" cy="553998"/>
          </a:xfrm>
          <a:prstGeom prst="rect">
            <a:avLst/>
          </a:prstGeom>
          <a:noFill/>
        </p:spPr>
        <p:txBody>
          <a:bodyPr wrap="none" lIns="0" tIns="0" rIns="0" bIns="0" rtlCol="0">
            <a:spAutoFit/>
          </a:bodyPr>
          <a:lstStyle/>
          <a:p>
            <a:pPr algn="ctr"/>
            <a:r>
              <a:rPr lang="en-US" dirty="0" smtClean="0">
                <a:solidFill>
                  <a:schemeClr val="accent2"/>
                </a:solidFill>
              </a:rPr>
              <a:t>Chief Engineer</a:t>
            </a:r>
            <a:endParaRPr lang="en-US" dirty="0" smtClean="0">
              <a:solidFill>
                <a:schemeClr val="accent2"/>
              </a:solidFill>
            </a:endParaRPr>
          </a:p>
          <a:p>
            <a:pPr algn="ctr"/>
            <a:r>
              <a:rPr lang="en-US" dirty="0" smtClean="0">
                <a:solidFill>
                  <a:schemeClr val="accent2"/>
                </a:solidFill>
              </a:rPr>
              <a:t>Krishnan Rajiyah</a:t>
            </a:r>
          </a:p>
        </p:txBody>
      </p:sp>
      <p:sp>
        <p:nvSpPr>
          <p:cNvPr id="9" name="TextBox 8"/>
          <p:cNvSpPr txBox="1"/>
          <p:nvPr/>
        </p:nvSpPr>
        <p:spPr>
          <a:xfrm>
            <a:off x="8524361" y="3021049"/>
            <a:ext cx="1399422" cy="553998"/>
          </a:xfrm>
          <a:prstGeom prst="rect">
            <a:avLst/>
          </a:prstGeom>
          <a:noFill/>
        </p:spPr>
        <p:txBody>
          <a:bodyPr wrap="none" lIns="0" tIns="0" rIns="0" bIns="0" rtlCol="0">
            <a:spAutoFit/>
          </a:bodyPr>
          <a:lstStyle/>
          <a:p>
            <a:pPr algn="ctr"/>
            <a:r>
              <a:rPr lang="en-US" dirty="0" smtClean="0">
                <a:solidFill>
                  <a:schemeClr val="accent2"/>
                </a:solidFill>
              </a:rPr>
              <a:t>Chief Engineer</a:t>
            </a:r>
            <a:endParaRPr lang="en-US" dirty="0" smtClean="0">
              <a:solidFill>
                <a:schemeClr val="accent2"/>
              </a:solidFill>
            </a:endParaRPr>
          </a:p>
          <a:p>
            <a:pPr algn="ctr"/>
            <a:r>
              <a:rPr lang="en-US" dirty="0" err="1" smtClean="0">
                <a:solidFill>
                  <a:schemeClr val="accent2"/>
                </a:solidFill>
              </a:rPr>
              <a:t>Vy</a:t>
            </a:r>
            <a:r>
              <a:rPr lang="en-US" dirty="0" smtClean="0">
                <a:solidFill>
                  <a:schemeClr val="accent2"/>
                </a:solidFill>
              </a:rPr>
              <a:t> </a:t>
            </a:r>
            <a:r>
              <a:rPr lang="en-US" dirty="0" smtClean="0">
                <a:solidFill>
                  <a:schemeClr val="accent2"/>
                </a:solidFill>
              </a:rPr>
              <a:t>Huynh</a:t>
            </a:r>
          </a:p>
        </p:txBody>
      </p:sp>
      <p:sp>
        <p:nvSpPr>
          <p:cNvPr id="10" name="TextBox 9"/>
          <p:cNvSpPr txBox="1"/>
          <p:nvPr/>
        </p:nvSpPr>
        <p:spPr>
          <a:xfrm>
            <a:off x="10142848" y="2993617"/>
            <a:ext cx="1399422" cy="553998"/>
          </a:xfrm>
          <a:prstGeom prst="rect">
            <a:avLst/>
          </a:prstGeom>
          <a:noFill/>
        </p:spPr>
        <p:txBody>
          <a:bodyPr wrap="none" lIns="0" tIns="0" rIns="0" bIns="0" rtlCol="0">
            <a:spAutoFit/>
          </a:bodyPr>
          <a:lstStyle/>
          <a:p>
            <a:pPr algn="ctr"/>
            <a:r>
              <a:rPr lang="en-US" smtClean="0">
                <a:solidFill>
                  <a:schemeClr val="accent2"/>
                </a:solidFill>
              </a:rPr>
              <a:t>Chief Engineer</a:t>
            </a:r>
            <a:endParaRPr lang="en-US" dirty="0" smtClean="0">
              <a:solidFill>
                <a:schemeClr val="accent2"/>
              </a:solidFill>
            </a:endParaRPr>
          </a:p>
          <a:p>
            <a:pPr algn="ctr"/>
            <a:r>
              <a:rPr lang="en-US" dirty="0" smtClean="0">
                <a:solidFill>
                  <a:schemeClr val="accent2"/>
                </a:solidFill>
              </a:rPr>
              <a:t>Brian </a:t>
            </a:r>
            <a:r>
              <a:rPr lang="en-US" dirty="0" smtClean="0">
                <a:solidFill>
                  <a:schemeClr val="accent2"/>
                </a:solidFill>
              </a:rPr>
              <a:t>Nguyen</a:t>
            </a:r>
            <a:endParaRPr lang="en-US" dirty="0" smtClean="0">
              <a:solidFill>
                <a:schemeClr val="accent2"/>
              </a:solidFill>
            </a:endParaRPr>
          </a:p>
        </p:txBody>
      </p:sp>
      <p:sp>
        <p:nvSpPr>
          <p:cNvPr id="12" name="TextBox 11"/>
          <p:cNvSpPr txBox="1"/>
          <p:nvPr/>
        </p:nvSpPr>
        <p:spPr>
          <a:xfrm>
            <a:off x="3826066" y="5460355"/>
            <a:ext cx="799722" cy="553998"/>
          </a:xfrm>
          <a:prstGeom prst="rect">
            <a:avLst/>
          </a:prstGeom>
          <a:noFill/>
        </p:spPr>
        <p:txBody>
          <a:bodyPr wrap="square" lIns="0" tIns="0" rIns="0" bIns="0" rtlCol="0">
            <a:spAutoFit/>
          </a:bodyPr>
          <a:lstStyle/>
          <a:p>
            <a:pPr algn="ctr"/>
            <a:r>
              <a:rPr lang="en-US" dirty="0" smtClean="0">
                <a:solidFill>
                  <a:schemeClr val="accent2"/>
                </a:solidFill>
              </a:rPr>
              <a:t>Darren </a:t>
            </a:r>
          </a:p>
          <a:p>
            <a:pPr algn="ctr"/>
            <a:r>
              <a:rPr lang="en-US" dirty="0" smtClean="0">
                <a:solidFill>
                  <a:schemeClr val="accent2"/>
                </a:solidFill>
              </a:rPr>
              <a:t>Haas</a:t>
            </a:r>
          </a:p>
        </p:txBody>
      </p:sp>
      <p:sp>
        <p:nvSpPr>
          <p:cNvPr id="14" name="TextBox 13"/>
          <p:cNvSpPr txBox="1"/>
          <p:nvPr/>
        </p:nvSpPr>
        <p:spPr>
          <a:xfrm>
            <a:off x="4389267" y="3026664"/>
            <a:ext cx="1756891" cy="553998"/>
          </a:xfrm>
          <a:prstGeom prst="rect">
            <a:avLst/>
          </a:prstGeom>
          <a:noFill/>
        </p:spPr>
        <p:txBody>
          <a:bodyPr wrap="none" lIns="0" tIns="0" rIns="0" bIns="0" rtlCol="0">
            <a:spAutoFit/>
          </a:bodyPr>
          <a:lstStyle/>
          <a:p>
            <a:pPr algn="ctr"/>
            <a:r>
              <a:rPr lang="en-US" dirty="0" smtClean="0">
                <a:solidFill>
                  <a:schemeClr val="accent2"/>
                </a:solidFill>
              </a:rPr>
              <a:t>COO</a:t>
            </a:r>
          </a:p>
          <a:p>
            <a:pPr algn="ctr"/>
            <a:r>
              <a:rPr lang="en-US" dirty="0" smtClean="0">
                <a:solidFill>
                  <a:schemeClr val="accent2"/>
                </a:solidFill>
              </a:rPr>
              <a:t>Vamsi Veeramasu</a:t>
            </a:r>
          </a:p>
        </p:txBody>
      </p:sp>
      <p:sp>
        <p:nvSpPr>
          <p:cNvPr id="11" name="TextBox 10"/>
          <p:cNvSpPr txBox="1"/>
          <p:nvPr/>
        </p:nvSpPr>
        <p:spPr>
          <a:xfrm>
            <a:off x="6956270" y="5430615"/>
            <a:ext cx="869333" cy="553998"/>
          </a:xfrm>
          <a:prstGeom prst="rect">
            <a:avLst/>
          </a:prstGeom>
          <a:noFill/>
        </p:spPr>
        <p:txBody>
          <a:bodyPr wrap="square" lIns="0" tIns="0" rIns="0" bIns="0" rtlCol="0">
            <a:spAutoFit/>
          </a:bodyPr>
          <a:lstStyle/>
          <a:p>
            <a:pPr algn="ctr"/>
            <a:r>
              <a:rPr lang="en-US" dirty="0" smtClean="0">
                <a:solidFill>
                  <a:schemeClr val="accent2"/>
                </a:solidFill>
              </a:rPr>
              <a:t>Dmitri </a:t>
            </a:r>
            <a:r>
              <a:rPr lang="en-US" dirty="0" err="1" smtClean="0">
                <a:solidFill>
                  <a:schemeClr val="accent2"/>
                </a:solidFill>
              </a:rPr>
              <a:t>Korablev</a:t>
            </a:r>
            <a:r>
              <a:rPr lang="en-US" dirty="0" smtClean="0">
                <a:solidFill>
                  <a:schemeClr val="accent2"/>
                </a:solidFill>
              </a:rPr>
              <a:t> </a:t>
            </a:r>
          </a:p>
        </p:txBody>
      </p:sp>
      <p:sp>
        <p:nvSpPr>
          <p:cNvPr id="13" name="TextBox 12"/>
          <p:cNvSpPr txBox="1"/>
          <p:nvPr/>
        </p:nvSpPr>
        <p:spPr>
          <a:xfrm>
            <a:off x="967180" y="4574728"/>
            <a:ext cx="1508426" cy="553998"/>
          </a:xfrm>
          <a:prstGeom prst="rect">
            <a:avLst/>
          </a:prstGeom>
          <a:noFill/>
        </p:spPr>
        <p:txBody>
          <a:bodyPr wrap="square" lIns="0" tIns="0" rIns="0" bIns="0" rtlCol="0">
            <a:spAutoFit/>
          </a:bodyPr>
          <a:lstStyle/>
          <a:p>
            <a:pPr algn="ctr"/>
            <a:r>
              <a:rPr lang="en-US" b="1" dirty="0" smtClean="0">
                <a:solidFill>
                  <a:schemeClr val="accent2"/>
                </a:solidFill>
              </a:rPr>
              <a:t>Advisory Board:</a:t>
            </a:r>
          </a:p>
        </p:txBody>
      </p:sp>
      <p:sp>
        <p:nvSpPr>
          <p:cNvPr id="15" name="TextBox 14"/>
          <p:cNvSpPr txBox="1"/>
          <p:nvPr/>
        </p:nvSpPr>
        <p:spPr>
          <a:xfrm>
            <a:off x="9841983" y="5432961"/>
            <a:ext cx="869333" cy="553998"/>
          </a:xfrm>
          <a:prstGeom prst="rect">
            <a:avLst/>
          </a:prstGeom>
          <a:noFill/>
        </p:spPr>
        <p:txBody>
          <a:bodyPr wrap="square" lIns="0" tIns="0" rIns="0" bIns="0" rtlCol="0">
            <a:spAutoFit/>
          </a:bodyPr>
          <a:lstStyle/>
          <a:p>
            <a:pPr algn="ctr"/>
            <a:r>
              <a:rPr lang="en-US" dirty="0" smtClean="0">
                <a:solidFill>
                  <a:schemeClr val="accent2"/>
                </a:solidFill>
              </a:rPr>
              <a:t>Alex Hails</a:t>
            </a:r>
          </a:p>
        </p:txBody>
      </p:sp>
      <p:pic>
        <p:nvPicPr>
          <p:cNvPr id="4" name="Picture 3"/>
          <p:cNvPicPr>
            <a:picLocks noChangeAspect="1"/>
          </p:cNvPicPr>
          <p:nvPr/>
        </p:nvPicPr>
        <p:blipFill>
          <a:blip r:embed="rId3"/>
          <a:stretch>
            <a:fillRect/>
          </a:stretch>
        </p:blipFill>
        <p:spPr>
          <a:xfrm>
            <a:off x="3511965" y="4031219"/>
            <a:ext cx="1427924" cy="140174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5" name="Picture 4"/>
          <p:cNvPicPr>
            <a:picLocks noChangeAspect="1"/>
          </p:cNvPicPr>
          <p:nvPr/>
        </p:nvPicPr>
        <p:blipFill>
          <a:blip r:embed="rId4"/>
          <a:stretch>
            <a:fillRect/>
          </a:stretch>
        </p:blipFill>
        <p:spPr>
          <a:xfrm>
            <a:off x="9841982" y="4012133"/>
            <a:ext cx="1035323" cy="13804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6" name="Picture 15"/>
          <p:cNvPicPr>
            <a:picLocks noChangeAspect="1"/>
          </p:cNvPicPr>
          <p:nvPr/>
        </p:nvPicPr>
        <p:blipFill>
          <a:blip r:embed="rId5"/>
          <a:stretch>
            <a:fillRect/>
          </a:stretch>
        </p:blipFill>
        <p:spPr>
          <a:xfrm>
            <a:off x="6730461" y="4071615"/>
            <a:ext cx="1320949" cy="132094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8" name="Picture 17"/>
          <p:cNvPicPr>
            <a:picLocks noChangeAspect="1"/>
          </p:cNvPicPr>
          <p:nvPr/>
        </p:nvPicPr>
        <p:blipFill rotWithShape="1">
          <a:blip r:embed="rId6">
            <a:extLst>
              <a:ext uri="{28A0092B-C50C-407E-A947-70E740481C1C}">
                <a14:useLocalDpi xmlns:a14="http://schemas.microsoft.com/office/drawing/2010/main" val="0"/>
              </a:ext>
            </a:extLst>
          </a:blip>
          <a:srcRect t="-1" r="410" b="29003"/>
          <a:stretch/>
        </p:blipFill>
        <p:spPr>
          <a:xfrm>
            <a:off x="4513652" y="1207160"/>
            <a:ext cx="1655584" cy="16386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37292" y="1199033"/>
            <a:ext cx="1644483" cy="161403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2" name="Picture 2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83345" y="1174113"/>
            <a:ext cx="1560289" cy="167173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5" name="Picture 24"/>
          <p:cNvPicPr>
            <a:picLocks noChangeAspect="1"/>
          </p:cNvPicPr>
          <p:nvPr/>
        </p:nvPicPr>
        <p:blipFill rotWithShape="1">
          <a:blip r:embed="rId9">
            <a:extLst>
              <a:ext uri="{28A0092B-C50C-407E-A947-70E740481C1C}">
                <a14:useLocalDpi xmlns:a14="http://schemas.microsoft.com/office/drawing/2010/main" val="0"/>
              </a:ext>
            </a:extLst>
          </a:blip>
          <a:srcRect l="15006" t="8580" r="36566" b="40426"/>
          <a:stretch/>
        </p:blipFill>
        <p:spPr>
          <a:xfrm>
            <a:off x="2593964" y="1207160"/>
            <a:ext cx="1593994" cy="16715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6" name="Picture 25"/>
          <p:cNvPicPr>
            <a:picLocks noChangeAspect="1"/>
          </p:cNvPicPr>
          <p:nvPr/>
        </p:nvPicPr>
        <p:blipFill rotWithShape="1">
          <a:blip r:embed="rId10">
            <a:extLst>
              <a:ext uri="{28A0092B-C50C-407E-A947-70E740481C1C}">
                <a14:useLocalDpi xmlns:a14="http://schemas.microsoft.com/office/drawing/2010/main" val="0"/>
              </a:ext>
            </a:extLst>
          </a:blip>
          <a:srcRect l="13489" t="6273" r="13613" b="53570"/>
          <a:stretch/>
        </p:blipFill>
        <p:spPr>
          <a:xfrm>
            <a:off x="577208" y="1232080"/>
            <a:ext cx="1734881" cy="169898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7" name="Picture 26"/>
          <p:cNvPicPr>
            <a:picLocks noChangeAspect="1"/>
          </p:cNvPicPr>
          <p:nvPr/>
        </p:nvPicPr>
        <p:blipFill rotWithShape="1">
          <a:blip r:embed="rId11">
            <a:extLst>
              <a:ext uri="{28A0092B-C50C-407E-A947-70E740481C1C}">
                <a14:useLocalDpi xmlns:a14="http://schemas.microsoft.com/office/drawing/2010/main" val="0"/>
              </a:ext>
            </a:extLst>
          </a:blip>
          <a:srcRect l="30916" t="7380" r="19246" b="19582"/>
          <a:stretch/>
        </p:blipFill>
        <p:spPr>
          <a:xfrm>
            <a:off x="8294425" y="1196183"/>
            <a:ext cx="1665196" cy="162771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9420438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Customer Impact</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20</a:t>
            </a:fld>
            <a:endParaRPr lang="en-CA"/>
          </a:p>
        </p:txBody>
      </p:sp>
    </p:spTree>
    <p:extLst>
      <p:ext uri="{BB962C8B-B14F-4D97-AF65-F5344CB8AC3E}">
        <p14:creationId xmlns:p14="http://schemas.microsoft.com/office/powerpoint/2010/main" val="13552259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 Customer Impact</a:t>
            </a:r>
            <a:endParaRPr lang="en-US" dirty="0"/>
          </a:p>
        </p:txBody>
      </p:sp>
      <p:sp>
        <p:nvSpPr>
          <p:cNvPr id="14" name="Rectangle 13"/>
          <p:cNvSpPr/>
          <p:nvPr/>
        </p:nvSpPr>
        <p:spPr bwMode="gray">
          <a:xfrm>
            <a:off x="533401" y="1333916"/>
            <a:ext cx="7545592" cy="2696318"/>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5" name="TextBox 14"/>
          <p:cNvSpPr txBox="1"/>
          <p:nvPr/>
        </p:nvSpPr>
        <p:spPr bwMode="gray">
          <a:xfrm>
            <a:off x="3004723" y="1173632"/>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effectLst/>
                <a:uLnTx/>
                <a:uFillTx/>
              </a:rPr>
              <a:t>Customer</a:t>
            </a:r>
            <a:r>
              <a:rPr kumimoji="0" lang="en-US" sz="1600" b="1" i="0" u="none" strike="noStrike" kern="0" cap="none" spc="0" normalizeH="0" noProof="0" dirty="0" smtClean="0">
                <a:ln>
                  <a:noFill/>
                </a:ln>
                <a:effectLst/>
                <a:uLnTx/>
                <a:uFillTx/>
              </a:rPr>
              <a:t> Feedback</a:t>
            </a:r>
            <a:endParaRPr kumimoji="0" lang="en-US" sz="1600" b="1" i="0" u="none" strike="noStrike" kern="0" cap="none" spc="0" normalizeH="0" baseline="0" noProof="0" dirty="0">
              <a:ln>
                <a:noFill/>
              </a:ln>
              <a:effectLst/>
              <a:uLnTx/>
              <a:uFillTx/>
            </a:endParaRPr>
          </a:p>
        </p:txBody>
      </p:sp>
      <p:sp>
        <p:nvSpPr>
          <p:cNvPr id="18" name="Rectangle 17"/>
          <p:cNvSpPr/>
          <p:nvPr/>
        </p:nvSpPr>
        <p:spPr bwMode="gray">
          <a:xfrm>
            <a:off x="533400" y="4319932"/>
            <a:ext cx="7545593" cy="1879041"/>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9" name="TextBox 18"/>
          <p:cNvSpPr txBox="1"/>
          <p:nvPr/>
        </p:nvSpPr>
        <p:spPr bwMode="gray">
          <a:xfrm>
            <a:off x="2702013" y="4169771"/>
            <a:ext cx="3208365"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smtClean="0"/>
              <a:t>Objectives and Customer Goals</a:t>
            </a:r>
            <a:endParaRPr kumimoji="0" lang="en-US" sz="1600" b="1" i="0" u="none" strike="noStrike" kern="0" cap="none" spc="0" normalizeH="0" baseline="0" noProof="0" dirty="0">
              <a:ln>
                <a:noFill/>
              </a:ln>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21</a:t>
            </a:fld>
            <a:endParaRPr lang="en-CA" dirty="0"/>
          </a:p>
        </p:txBody>
      </p:sp>
      <p:sp>
        <p:nvSpPr>
          <p:cNvPr id="75" name="TextBox 74"/>
          <p:cNvSpPr txBox="1"/>
          <p:nvPr/>
        </p:nvSpPr>
        <p:spPr>
          <a:xfrm>
            <a:off x="585858" y="1545317"/>
            <a:ext cx="710586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Advisor: Kelly </a:t>
            </a:r>
            <a:r>
              <a:rPr lang="en-US" sz="1600" dirty="0"/>
              <a:t>Stockton</a:t>
            </a:r>
            <a:r>
              <a:rPr lang="en-US" sz="1600" dirty="0" smtClean="0"/>
              <a:t>, Lead </a:t>
            </a:r>
            <a:r>
              <a:rPr lang="en-US" sz="1600" dirty="0"/>
              <a:t>construction project manager in San Ramon </a:t>
            </a:r>
          </a:p>
        </p:txBody>
      </p:sp>
      <p:sp>
        <p:nvSpPr>
          <p:cNvPr id="81" name="TextBox 80"/>
          <p:cNvSpPr txBox="1"/>
          <p:nvPr/>
        </p:nvSpPr>
        <p:spPr>
          <a:xfrm>
            <a:off x="585853" y="4648215"/>
            <a:ext cx="6503433" cy="1323439"/>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M</a:t>
            </a:r>
            <a:r>
              <a:rPr lang="en-US" sz="1600" dirty="0" smtClean="0"/>
              <a:t>ain </a:t>
            </a:r>
            <a:r>
              <a:rPr lang="en-US" sz="1600" dirty="0"/>
              <a:t>objectives </a:t>
            </a:r>
            <a:r>
              <a:rPr lang="en-US" sz="1600" dirty="0" smtClean="0"/>
              <a:t>of Current Vision</a:t>
            </a:r>
          </a:p>
          <a:p>
            <a:pPr marL="742950" lvl="1" indent="-285750" defTabSz="457200">
              <a:buFont typeface="Arial" panose="020B0604020202020204" pitchFamily="34" charset="0"/>
              <a:buChar char="•"/>
            </a:pPr>
            <a:r>
              <a:rPr lang="en-US" sz="1600" dirty="0"/>
              <a:t>Make cities a</a:t>
            </a:r>
            <a:r>
              <a:rPr lang="en-US" sz="1600" b="1" dirty="0"/>
              <a:t> safer </a:t>
            </a:r>
            <a:r>
              <a:rPr lang="en-US" sz="1600" dirty="0" smtClean="0"/>
              <a:t>place</a:t>
            </a:r>
          </a:p>
          <a:p>
            <a:pPr marL="742950" lvl="1" indent="-285750" defTabSz="457200">
              <a:buFont typeface="Arial" panose="020B0604020202020204" pitchFamily="34" charset="0"/>
              <a:buChar char="•"/>
            </a:pPr>
            <a:r>
              <a:rPr lang="en-US" sz="1600" b="1" dirty="0"/>
              <a:t>Increase</a:t>
            </a:r>
            <a:r>
              <a:rPr lang="en-US" sz="1600" dirty="0"/>
              <a:t> </a:t>
            </a:r>
            <a:r>
              <a:rPr lang="en-US" sz="1600" b="1" dirty="0"/>
              <a:t>Efficiency</a:t>
            </a:r>
            <a:r>
              <a:rPr lang="en-US" sz="1600" dirty="0"/>
              <a:t> &amp;</a:t>
            </a:r>
            <a:r>
              <a:rPr lang="en-US" sz="1600" b="1" dirty="0"/>
              <a:t> Decrease costs </a:t>
            </a:r>
            <a:r>
              <a:rPr lang="en-US" sz="1600" dirty="0"/>
              <a:t>for construction firms and local </a:t>
            </a:r>
            <a:r>
              <a:rPr lang="en-US" sz="1600" dirty="0" smtClean="0"/>
              <a:t>governments</a:t>
            </a:r>
          </a:p>
          <a:p>
            <a:pPr marL="742950" lvl="1" indent="-285750" defTabSz="457200">
              <a:buFont typeface="Arial" panose="020B0604020202020204" pitchFamily="34" charset="0"/>
              <a:buChar char="•"/>
            </a:pPr>
            <a:r>
              <a:rPr lang="en-US" sz="1600" b="1" dirty="0" smtClean="0"/>
              <a:t>Reduce</a:t>
            </a:r>
            <a:r>
              <a:rPr lang="en-US" sz="1600" dirty="0" smtClean="0"/>
              <a:t> injuries and </a:t>
            </a:r>
            <a:r>
              <a:rPr lang="en-US" sz="1600" b="1" dirty="0" smtClean="0"/>
              <a:t>save</a:t>
            </a:r>
            <a:r>
              <a:rPr lang="en-US" sz="1600" dirty="0" smtClean="0"/>
              <a:t> lives </a:t>
            </a:r>
            <a:endParaRPr lang="en-US" sz="1600" dirty="0"/>
          </a:p>
        </p:txBody>
      </p:sp>
      <p:sp>
        <p:nvSpPr>
          <p:cNvPr id="21" name="TextBox 20"/>
          <p:cNvSpPr txBox="1"/>
          <p:nvPr/>
        </p:nvSpPr>
        <p:spPr>
          <a:xfrm>
            <a:off x="585854" y="1982974"/>
            <a:ext cx="7105863" cy="830997"/>
          </a:xfrm>
          <a:prstGeom prst="rect">
            <a:avLst/>
          </a:prstGeom>
          <a:noFill/>
        </p:spPr>
        <p:txBody>
          <a:bodyPr wrap="square" rtlCol="0">
            <a:spAutoFit/>
          </a:bodyPr>
          <a:lstStyle/>
          <a:p>
            <a:pPr marL="285750" lvl="0" indent="-285750">
              <a:buFont typeface="Arial" charset="0"/>
              <a:buChar char="•"/>
            </a:pPr>
            <a:r>
              <a:rPr lang="en-US" sz="1600" dirty="0" smtClean="0"/>
              <a:t>Received Feedback regarding market demand for Current Vision </a:t>
            </a:r>
          </a:p>
          <a:p>
            <a:pPr marL="742950" lvl="1" indent="-285750">
              <a:buFont typeface="Arial" charset="0"/>
              <a:buChar char="•"/>
            </a:pPr>
            <a:r>
              <a:rPr lang="en-US" sz="1600" dirty="0" smtClean="0"/>
              <a:t>The construction company has an employee stand outside on the road to gauge traffic and pedestrian data</a:t>
            </a:r>
            <a:endParaRPr lang="en-US" sz="1600" dirty="0"/>
          </a:p>
        </p:txBody>
      </p:sp>
      <p:sp>
        <p:nvSpPr>
          <p:cNvPr id="20" name="TextBox 19"/>
          <p:cNvSpPr txBox="1"/>
          <p:nvPr/>
        </p:nvSpPr>
        <p:spPr>
          <a:xfrm>
            <a:off x="585853" y="2910784"/>
            <a:ext cx="7105863" cy="1077218"/>
          </a:xfrm>
          <a:prstGeom prst="rect">
            <a:avLst/>
          </a:prstGeom>
          <a:noFill/>
        </p:spPr>
        <p:txBody>
          <a:bodyPr wrap="square" rtlCol="0">
            <a:spAutoFit/>
          </a:bodyPr>
          <a:lstStyle/>
          <a:p>
            <a:pPr marL="285750" lvl="0" indent="-285750">
              <a:buFont typeface="Arial" charset="0"/>
              <a:buChar char="•"/>
            </a:pPr>
            <a:r>
              <a:rPr lang="en-US" sz="1600" dirty="0" smtClean="0"/>
              <a:t>Received Feedback regarding Product Value</a:t>
            </a:r>
          </a:p>
          <a:p>
            <a:pPr marL="742950" lvl="1" indent="-285750">
              <a:buFont typeface="Arial" charset="0"/>
              <a:buChar char="•"/>
            </a:pPr>
            <a:r>
              <a:rPr lang="en-US" sz="1600" dirty="0" smtClean="0"/>
              <a:t>Current Vision’s product would be of great value to that construction company and many more as there is no easy way to track this kind of information today</a:t>
            </a:r>
          </a:p>
        </p:txBody>
      </p:sp>
      <p:pic>
        <p:nvPicPr>
          <p:cNvPr id="3" name="Picture 2"/>
          <p:cNvPicPr>
            <a:picLocks noChangeAspect="1"/>
          </p:cNvPicPr>
          <p:nvPr/>
        </p:nvPicPr>
        <p:blipFill>
          <a:blip r:embed="rId3"/>
          <a:stretch>
            <a:fillRect/>
          </a:stretch>
        </p:blipFill>
        <p:spPr>
          <a:xfrm>
            <a:off x="8398896" y="2887873"/>
            <a:ext cx="3624014" cy="1577512"/>
          </a:xfrm>
          <a:prstGeom prst="rect">
            <a:avLst/>
          </a:prstGeom>
        </p:spPr>
      </p:pic>
    </p:spTree>
    <p:extLst>
      <p:ext uri="{BB962C8B-B14F-4D97-AF65-F5344CB8AC3E}">
        <p14:creationId xmlns:p14="http://schemas.microsoft.com/office/powerpoint/2010/main" val="52965881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 Future Impact</a:t>
            </a:r>
            <a:endParaRPr lang="en-US" dirty="0"/>
          </a:p>
        </p:txBody>
      </p:sp>
      <p:sp>
        <p:nvSpPr>
          <p:cNvPr id="14" name="Rectangle 13"/>
          <p:cNvSpPr/>
          <p:nvPr/>
        </p:nvSpPr>
        <p:spPr bwMode="gray">
          <a:xfrm>
            <a:off x="533401" y="1333916"/>
            <a:ext cx="5222991" cy="2681999"/>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5" name="TextBox 14"/>
          <p:cNvSpPr txBox="1"/>
          <p:nvPr/>
        </p:nvSpPr>
        <p:spPr bwMode="gray">
          <a:xfrm>
            <a:off x="1967002" y="1184566"/>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Post</a:t>
            </a:r>
            <a:r>
              <a:rPr kumimoji="0" lang="en-US" sz="1600" b="1" i="0" u="none" strike="noStrike" kern="0" cap="none" spc="0" normalizeH="0" noProof="0" dirty="0">
                <a:ln>
                  <a:noFill/>
                </a:ln>
                <a:effectLst/>
                <a:uLnTx/>
                <a:uFillTx/>
              </a:rPr>
              <a:t> </a:t>
            </a:r>
            <a:r>
              <a:rPr lang="en-US" sz="1600" b="1" kern="0" noProof="0" dirty="0" smtClean="0"/>
              <a:t>Completion</a:t>
            </a:r>
            <a:r>
              <a:rPr kumimoji="0" lang="en-US" sz="1600" b="1" i="0" u="none" strike="noStrike" kern="0" cap="none" spc="0" normalizeH="0" noProof="0" dirty="0" smtClean="0">
                <a:ln>
                  <a:noFill/>
                </a:ln>
                <a:effectLst/>
                <a:uLnTx/>
                <a:uFillTx/>
              </a:rPr>
              <a:t> </a:t>
            </a:r>
            <a:r>
              <a:rPr kumimoji="0" lang="en-US" sz="1600" b="1" i="0" u="none" strike="noStrike" kern="0" cap="none" spc="0" normalizeH="0" noProof="0" dirty="0">
                <a:ln>
                  <a:noFill/>
                </a:ln>
                <a:effectLst/>
                <a:uLnTx/>
                <a:uFillTx/>
              </a:rPr>
              <a:t>– GE view</a:t>
            </a:r>
            <a:endParaRPr kumimoji="0" lang="en-US" sz="1600" b="1" i="0" u="none" strike="noStrike" kern="0" cap="none" spc="0" normalizeH="0" baseline="0" noProof="0" dirty="0">
              <a:ln>
                <a:noFill/>
              </a:ln>
              <a:effectLst/>
              <a:uLnTx/>
              <a:uFillTx/>
            </a:endParaRPr>
          </a:p>
        </p:txBody>
      </p:sp>
      <p:sp>
        <p:nvSpPr>
          <p:cNvPr id="16" name="Rectangle 15"/>
          <p:cNvSpPr/>
          <p:nvPr/>
        </p:nvSpPr>
        <p:spPr bwMode="gray">
          <a:xfrm>
            <a:off x="6139259" y="1333917"/>
            <a:ext cx="5519341" cy="2681998"/>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effectLst/>
              <a:uLnTx/>
              <a:uFillTx/>
            </a:endParaRPr>
          </a:p>
        </p:txBody>
      </p:sp>
      <p:sp>
        <p:nvSpPr>
          <p:cNvPr id="17" name="TextBox 16"/>
          <p:cNvSpPr txBox="1"/>
          <p:nvPr/>
        </p:nvSpPr>
        <p:spPr bwMode="gray">
          <a:xfrm>
            <a:off x="7072629" y="1184566"/>
            <a:ext cx="3652597" cy="338554"/>
          </a:xfrm>
          <a:prstGeom prst="rect">
            <a:avLst/>
          </a:prstGeom>
          <a:solidFill>
            <a:sysClr val="window" lastClr="FFFFFF"/>
          </a:solidFill>
        </p:spPr>
        <p:txBody>
          <a:bodyPr wrap="square" rtlCol="0" anchor="ctr">
            <a:spAutoFit/>
          </a:bodyPr>
          <a:lstStyle/>
          <a:p>
            <a:pPr lvl="0">
              <a:defRPr/>
            </a:pPr>
            <a:r>
              <a:rPr lang="en-US" sz="1600" b="1" kern="0" dirty="0"/>
              <a:t>Post </a:t>
            </a:r>
            <a:r>
              <a:rPr lang="en-US" sz="1600" b="1" kern="0" dirty="0" smtClean="0"/>
              <a:t>Completion – Current Vision view</a:t>
            </a:r>
            <a:endParaRPr lang="en-US" sz="1600" b="1" kern="0" dirty="0"/>
          </a:p>
        </p:txBody>
      </p:sp>
      <p:sp>
        <p:nvSpPr>
          <p:cNvPr id="18" name="Rectangle 17"/>
          <p:cNvSpPr/>
          <p:nvPr/>
        </p:nvSpPr>
        <p:spPr bwMode="gray">
          <a:xfrm>
            <a:off x="533400" y="4319932"/>
            <a:ext cx="11125200" cy="1879041"/>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9" name="TextBox 18"/>
          <p:cNvSpPr txBox="1"/>
          <p:nvPr/>
        </p:nvSpPr>
        <p:spPr bwMode="gray">
          <a:xfrm>
            <a:off x="4842390" y="4159730"/>
            <a:ext cx="2507220"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t>Potential risks/concerns</a:t>
            </a:r>
            <a:endParaRPr kumimoji="0" lang="en-US" sz="1600" b="1" i="0" u="none" strike="noStrike" kern="0" cap="none" spc="0" normalizeH="0" baseline="0" noProof="0" dirty="0">
              <a:ln>
                <a:noFill/>
              </a:ln>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22</a:t>
            </a:fld>
            <a:endParaRPr lang="en-CA" dirty="0"/>
          </a:p>
        </p:txBody>
      </p:sp>
      <p:sp>
        <p:nvSpPr>
          <p:cNvPr id="75" name="TextBox 74"/>
          <p:cNvSpPr txBox="1"/>
          <p:nvPr/>
        </p:nvSpPr>
        <p:spPr>
          <a:xfrm>
            <a:off x="585858" y="1545317"/>
            <a:ext cx="5170537" cy="830997"/>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Current Vision is a great addition to GE’s portfolio as it aligns with GE’s mission to cut costs for customers and increase efficiency </a:t>
            </a:r>
          </a:p>
        </p:txBody>
      </p:sp>
      <p:sp>
        <p:nvSpPr>
          <p:cNvPr id="77" name="TextBox 76"/>
          <p:cNvSpPr txBox="1"/>
          <p:nvPr/>
        </p:nvSpPr>
        <p:spPr>
          <a:xfrm>
            <a:off x="585855" y="3036118"/>
            <a:ext cx="5170537" cy="830997"/>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Potential </a:t>
            </a:r>
            <a:r>
              <a:rPr lang="en-US" sz="1600" dirty="0" smtClean="0"/>
              <a:t>partnership opportunities for GE with construction </a:t>
            </a:r>
            <a:r>
              <a:rPr lang="en-US" sz="1600" dirty="0"/>
              <a:t>firm </a:t>
            </a:r>
            <a:r>
              <a:rPr lang="en-US" sz="1600" dirty="0" smtClean="0"/>
              <a:t>clients to provide predictive analytics for their machinery (similar to GE Aviation) </a:t>
            </a:r>
            <a:endParaRPr lang="en-US" sz="1600" dirty="0"/>
          </a:p>
        </p:txBody>
      </p:sp>
      <p:sp>
        <p:nvSpPr>
          <p:cNvPr id="78" name="TextBox 77"/>
          <p:cNvSpPr txBox="1"/>
          <p:nvPr/>
        </p:nvSpPr>
        <p:spPr>
          <a:xfrm>
            <a:off x="6313657" y="2149439"/>
            <a:ext cx="5170537" cy="830997"/>
          </a:xfrm>
          <a:prstGeom prst="rect">
            <a:avLst/>
          </a:prstGeom>
          <a:noFill/>
        </p:spPr>
        <p:txBody>
          <a:bodyPr wrap="square" rtlCol="0">
            <a:spAutoFit/>
          </a:bodyPr>
          <a:lstStyle/>
          <a:p>
            <a:pPr marL="285750" lvl="0" indent="-285750">
              <a:buFont typeface="Arial" charset="0"/>
              <a:buChar char="•"/>
            </a:pPr>
            <a:r>
              <a:rPr lang="en-US" sz="1600" dirty="0"/>
              <a:t>A</a:t>
            </a:r>
            <a:r>
              <a:rPr lang="en-US" sz="1600" dirty="0" smtClean="0"/>
              <a:t>s </a:t>
            </a:r>
            <a:r>
              <a:rPr lang="en-US" sz="1600" dirty="0"/>
              <a:t>sensors mature, we plan to extract environmental data from areas surrounding construction sites to sell to local governments </a:t>
            </a:r>
          </a:p>
        </p:txBody>
      </p:sp>
      <p:sp>
        <p:nvSpPr>
          <p:cNvPr id="79" name="TextBox 78"/>
          <p:cNvSpPr txBox="1"/>
          <p:nvPr/>
        </p:nvSpPr>
        <p:spPr>
          <a:xfrm>
            <a:off x="6313658" y="1545317"/>
            <a:ext cx="5170537"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Integrate weather and event data to provide more robust analytical capabilities to our clients</a:t>
            </a:r>
            <a:endParaRPr lang="en-US" sz="1600" dirty="0"/>
          </a:p>
        </p:txBody>
      </p:sp>
      <p:sp>
        <p:nvSpPr>
          <p:cNvPr id="80" name="TextBox 79"/>
          <p:cNvSpPr txBox="1"/>
          <p:nvPr/>
        </p:nvSpPr>
        <p:spPr>
          <a:xfrm>
            <a:off x="6313657" y="3031538"/>
            <a:ext cx="5170537" cy="830997"/>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Spread the word with the help of our sales and marketing teams to attract more construction firms and local Governments to use our product</a:t>
            </a:r>
            <a:endParaRPr lang="en-US" sz="1600" dirty="0"/>
          </a:p>
        </p:txBody>
      </p:sp>
      <p:sp>
        <p:nvSpPr>
          <p:cNvPr id="81" name="TextBox 80"/>
          <p:cNvSpPr txBox="1"/>
          <p:nvPr/>
        </p:nvSpPr>
        <p:spPr>
          <a:xfrm>
            <a:off x="585856" y="4653174"/>
            <a:ext cx="53652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Attracting more construction companies as clients</a:t>
            </a:r>
            <a:endParaRPr lang="en-US" sz="1600" dirty="0"/>
          </a:p>
        </p:txBody>
      </p:sp>
      <p:sp>
        <p:nvSpPr>
          <p:cNvPr id="82" name="TextBox 81"/>
          <p:cNvSpPr txBox="1"/>
          <p:nvPr/>
        </p:nvSpPr>
        <p:spPr>
          <a:xfrm>
            <a:off x="585855" y="5281426"/>
            <a:ext cx="5170537" cy="830997"/>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Introduction of competitors in the future</a:t>
            </a:r>
          </a:p>
          <a:p>
            <a:pPr marL="742950" lvl="1" indent="-285750" defTabSz="457200">
              <a:buFont typeface="Arial" panose="020B0604020202020204" pitchFamily="34" charset="0"/>
              <a:buChar char="•"/>
            </a:pPr>
            <a:r>
              <a:rPr lang="en-US" sz="1600" dirty="0" smtClean="0"/>
              <a:t>Company will need to preserve market share and value</a:t>
            </a:r>
            <a:endParaRPr lang="en-US" sz="1600" dirty="0"/>
          </a:p>
        </p:txBody>
      </p:sp>
      <p:sp>
        <p:nvSpPr>
          <p:cNvPr id="83" name="TextBox 82"/>
          <p:cNvSpPr txBox="1"/>
          <p:nvPr/>
        </p:nvSpPr>
        <p:spPr>
          <a:xfrm>
            <a:off x="6313657" y="5313538"/>
            <a:ext cx="5170537"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Receiving all the required resources and funding in a timely manner to continue future progress </a:t>
            </a:r>
            <a:endParaRPr lang="en-US" sz="1600" dirty="0"/>
          </a:p>
        </p:txBody>
      </p:sp>
      <p:sp>
        <p:nvSpPr>
          <p:cNvPr id="84" name="TextBox 83"/>
          <p:cNvSpPr txBox="1"/>
          <p:nvPr/>
        </p:nvSpPr>
        <p:spPr>
          <a:xfrm>
            <a:off x="6313660" y="4653174"/>
            <a:ext cx="5170537"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Meeting the company’s valuation in the future and expected growth rates </a:t>
            </a:r>
            <a:endParaRPr lang="en-US" sz="1600" dirty="0"/>
          </a:p>
        </p:txBody>
      </p:sp>
      <p:sp>
        <p:nvSpPr>
          <p:cNvPr id="21" name="TextBox 20"/>
          <p:cNvSpPr txBox="1"/>
          <p:nvPr/>
        </p:nvSpPr>
        <p:spPr>
          <a:xfrm>
            <a:off x="585855" y="2376314"/>
            <a:ext cx="5170537" cy="584775"/>
          </a:xfrm>
          <a:prstGeom prst="rect">
            <a:avLst/>
          </a:prstGeom>
          <a:noFill/>
        </p:spPr>
        <p:txBody>
          <a:bodyPr wrap="square" rtlCol="0">
            <a:spAutoFit/>
          </a:bodyPr>
          <a:lstStyle/>
          <a:p>
            <a:pPr marL="285750" lvl="0" indent="-285750">
              <a:buFont typeface="Arial" charset="0"/>
              <a:buChar char="•"/>
            </a:pPr>
            <a:r>
              <a:rPr lang="en-US" sz="1600" dirty="0"/>
              <a:t>In addition, Current Vision leverages Predix, presenting a continued growth opportunity for the </a:t>
            </a:r>
            <a:r>
              <a:rPr lang="en-US" sz="1600" dirty="0" smtClean="0"/>
              <a:t>platform</a:t>
            </a:r>
            <a:endParaRPr lang="en-US" sz="1600" dirty="0"/>
          </a:p>
        </p:txBody>
      </p:sp>
    </p:spTree>
    <p:extLst>
      <p:ext uri="{BB962C8B-B14F-4D97-AF65-F5344CB8AC3E}">
        <p14:creationId xmlns:p14="http://schemas.microsoft.com/office/powerpoint/2010/main" val="24865447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56951" y="2392957"/>
            <a:ext cx="3082871" cy="700488"/>
          </a:xfrm>
        </p:spPr>
        <p:txBody>
          <a:bodyPr/>
          <a:lstStyle/>
          <a:p>
            <a:pPr algn="ctr"/>
            <a:r>
              <a:rPr lang="en-US" dirty="0" smtClean="0"/>
              <a:t>Demo Link</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23</a:t>
            </a:fld>
            <a:endParaRPr lang="en-CA"/>
          </a:p>
        </p:txBody>
      </p:sp>
      <p:sp>
        <p:nvSpPr>
          <p:cNvPr id="6" name="Title 3"/>
          <p:cNvSpPr txBox="1">
            <a:spLocks/>
          </p:cNvSpPr>
          <p:nvPr/>
        </p:nvSpPr>
        <p:spPr>
          <a:xfrm>
            <a:off x="4222252" y="6495572"/>
            <a:ext cx="4352271" cy="38292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pPr algn="ctr"/>
            <a:r>
              <a:rPr lang="en-US" sz="1800" dirty="0" smtClean="0"/>
              <a:t>use google chrome for the </a:t>
            </a:r>
            <a:r>
              <a:rPr lang="en-US" sz="1800" smtClean="0"/>
              <a:t>best experience</a:t>
            </a:r>
            <a:endParaRPr lang="en-US" sz="1800" dirty="0"/>
          </a:p>
        </p:txBody>
      </p:sp>
      <p:sp>
        <p:nvSpPr>
          <p:cNvPr id="7" name="Title 3"/>
          <p:cNvSpPr txBox="1">
            <a:spLocks/>
          </p:cNvSpPr>
          <p:nvPr/>
        </p:nvSpPr>
        <p:spPr>
          <a:xfrm>
            <a:off x="3490729" y="3106581"/>
            <a:ext cx="5815313" cy="37651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pPr algn="ctr"/>
            <a:r>
              <a:rPr lang="en-US" sz="2000" dirty="0" smtClean="0">
                <a:hlinkClick r:id="rId2"/>
              </a:rPr>
              <a:t>https</a:t>
            </a:r>
            <a:r>
              <a:rPr lang="en-US" sz="2000" smtClean="0">
                <a:hlinkClick r:id="rId2"/>
              </a:rPr>
              <a:t>://current-vision.run.aws-usw02-pr.ice.predix.io</a:t>
            </a:r>
            <a:endParaRPr lang="en-US" sz="2000" smtClean="0"/>
          </a:p>
          <a:p>
            <a:pPr algn="ctr"/>
            <a:r>
              <a:rPr lang="en-US" sz="2000" dirty="0" smtClean="0"/>
              <a:t/>
            </a:r>
            <a:br>
              <a:rPr lang="en-US" sz="2000" dirty="0" smtClean="0"/>
            </a:br>
            <a:endParaRPr lang="en-US" sz="2000" dirty="0"/>
          </a:p>
        </p:txBody>
      </p:sp>
      <p:sp>
        <p:nvSpPr>
          <p:cNvPr id="8" name="Title 3"/>
          <p:cNvSpPr txBox="1">
            <a:spLocks/>
          </p:cNvSpPr>
          <p:nvPr/>
        </p:nvSpPr>
        <p:spPr>
          <a:xfrm>
            <a:off x="3490729" y="3496234"/>
            <a:ext cx="5815313" cy="37651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pPr algn="ctr"/>
            <a:r>
              <a:rPr lang="en-US" sz="2000" dirty="0" smtClean="0"/>
              <a:t>Username: admin</a:t>
            </a:r>
          </a:p>
          <a:p>
            <a:pPr algn="ctr"/>
            <a:r>
              <a:rPr lang="en-US" sz="2000" dirty="0" smtClean="0"/>
              <a:t>Password: password</a:t>
            </a:r>
            <a:endParaRPr lang="en-US" sz="2000" dirty="0"/>
          </a:p>
        </p:txBody>
      </p:sp>
    </p:spTree>
    <p:extLst>
      <p:ext uri="{BB962C8B-B14F-4D97-AF65-F5344CB8AC3E}">
        <p14:creationId xmlns:p14="http://schemas.microsoft.com/office/powerpoint/2010/main" val="25940289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6"/>
            <a:ext cx="9000934" cy="700488"/>
          </a:xfrm>
        </p:spPr>
        <p:txBody>
          <a:bodyPr/>
          <a:lstStyle/>
          <a:p>
            <a:pPr algn="ctr"/>
            <a:r>
              <a:rPr lang="en-US" dirty="0"/>
              <a:t>Thank You</a:t>
            </a:r>
          </a:p>
        </p:txBody>
      </p:sp>
      <p:sp>
        <p:nvSpPr>
          <p:cNvPr id="3" name="Slide Number Placeholder 2"/>
          <p:cNvSpPr>
            <a:spLocks noGrp="1"/>
          </p:cNvSpPr>
          <p:nvPr>
            <p:ph type="sldNum" sz="quarter" idx="12"/>
          </p:nvPr>
        </p:nvSpPr>
        <p:spPr/>
        <p:txBody>
          <a:bodyPr/>
          <a:lstStyle/>
          <a:p>
            <a:fld id="{00E6A5BD-C011-4A45-AA3A-201790FB7F2B}" type="slidenum">
              <a:rPr lang="en-CA" smtClean="0"/>
              <a:t>24</a:t>
            </a:fld>
            <a:endParaRPr lang="en-CA"/>
          </a:p>
        </p:txBody>
      </p:sp>
    </p:spTree>
    <p:extLst>
      <p:ext uri="{BB962C8B-B14F-4D97-AF65-F5344CB8AC3E}">
        <p14:creationId xmlns:p14="http://schemas.microsoft.com/office/powerpoint/2010/main" val="1603655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Lean Canvas</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3</a:t>
            </a:fld>
            <a:endParaRPr lang="en-CA"/>
          </a:p>
        </p:txBody>
      </p:sp>
    </p:spTree>
    <p:extLst>
      <p:ext uri="{BB962C8B-B14F-4D97-AF65-F5344CB8AC3E}">
        <p14:creationId xmlns:p14="http://schemas.microsoft.com/office/powerpoint/2010/main" val="14198674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827265" y="838071"/>
            <a:ext cx="8918428" cy="552520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12" name="TextBox 11"/>
          <p:cNvSpPr txBox="1"/>
          <p:nvPr/>
        </p:nvSpPr>
        <p:spPr>
          <a:xfrm>
            <a:off x="8888252" y="6517744"/>
            <a:ext cx="1907177" cy="276999"/>
          </a:xfrm>
          <a:prstGeom prst="rect">
            <a:avLst/>
          </a:prstGeom>
          <a:noFill/>
        </p:spPr>
        <p:txBody>
          <a:bodyPr wrap="square" rtlCol="0">
            <a:spAutoFit/>
          </a:bodyPr>
          <a:lstStyle/>
          <a:p>
            <a:pPr algn="r"/>
            <a:r>
              <a:rPr lang="en-US" sz="1200" i="1" dirty="0">
                <a:solidFill>
                  <a:schemeClr val="accent4"/>
                </a:solidFill>
              </a:rPr>
              <a:t>Source: Alex Osterwalder</a:t>
            </a:r>
          </a:p>
        </p:txBody>
      </p:sp>
      <p:sp>
        <p:nvSpPr>
          <p:cNvPr id="13" name="Rectangle 12"/>
          <p:cNvSpPr/>
          <p:nvPr/>
        </p:nvSpPr>
        <p:spPr>
          <a:xfrm>
            <a:off x="1827265" y="4763461"/>
            <a:ext cx="4386928" cy="1599813"/>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18" name="Rectangle 17"/>
          <p:cNvSpPr/>
          <p:nvPr/>
        </p:nvSpPr>
        <p:spPr>
          <a:xfrm>
            <a:off x="1827266" y="830170"/>
            <a:ext cx="1774725" cy="3933290"/>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19" name="Rectangle 18"/>
          <p:cNvSpPr/>
          <p:nvPr/>
        </p:nvSpPr>
        <p:spPr>
          <a:xfrm>
            <a:off x="3608184" y="830170"/>
            <a:ext cx="1737340" cy="3933290"/>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20" name="Rectangle 19"/>
          <p:cNvSpPr/>
          <p:nvPr/>
        </p:nvSpPr>
        <p:spPr>
          <a:xfrm>
            <a:off x="5345523" y="830169"/>
            <a:ext cx="1751265" cy="393328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22" name="Rectangle 21"/>
          <p:cNvSpPr/>
          <p:nvPr/>
        </p:nvSpPr>
        <p:spPr>
          <a:xfrm>
            <a:off x="8846376" y="830171"/>
            <a:ext cx="1896047" cy="3933288"/>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23" name="Rectangle 22"/>
          <p:cNvSpPr/>
          <p:nvPr/>
        </p:nvSpPr>
        <p:spPr>
          <a:xfrm>
            <a:off x="3608142" y="2624417"/>
            <a:ext cx="1737380" cy="213904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24" name="Rectangle 23"/>
          <p:cNvSpPr/>
          <p:nvPr/>
        </p:nvSpPr>
        <p:spPr>
          <a:xfrm>
            <a:off x="7095967" y="3433622"/>
            <a:ext cx="1750408" cy="1329837"/>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25" name="TextBox 24"/>
          <p:cNvSpPr txBox="1"/>
          <p:nvPr/>
        </p:nvSpPr>
        <p:spPr>
          <a:xfrm>
            <a:off x="1879520" y="872907"/>
            <a:ext cx="831664" cy="169277"/>
          </a:xfrm>
          <a:prstGeom prst="rect">
            <a:avLst/>
          </a:prstGeom>
          <a:noFill/>
        </p:spPr>
        <p:txBody>
          <a:bodyPr wrap="square" lIns="0" tIns="0" rIns="0" bIns="0" rtlCol="0">
            <a:spAutoFit/>
          </a:bodyPr>
          <a:lstStyle/>
          <a:p>
            <a:r>
              <a:rPr lang="en-US" sz="1100" b="1" dirty="0">
                <a:solidFill>
                  <a:schemeClr val="accent4"/>
                </a:solidFill>
              </a:rPr>
              <a:t>Key Partners</a:t>
            </a:r>
          </a:p>
        </p:txBody>
      </p:sp>
      <p:sp>
        <p:nvSpPr>
          <p:cNvPr id="26" name="TextBox 25"/>
          <p:cNvSpPr txBox="1"/>
          <p:nvPr/>
        </p:nvSpPr>
        <p:spPr>
          <a:xfrm>
            <a:off x="3638656" y="872908"/>
            <a:ext cx="1088563" cy="169277"/>
          </a:xfrm>
          <a:prstGeom prst="rect">
            <a:avLst/>
          </a:prstGeom>
          <a:noFill/>
        </p:spPr>
        <p:txBody>
          <a:bodyPr wrap="square" lIns="0" tIns="0" rIns="0" bIns="0" rtlCol="0">
            <a:spAutoFit/>
          </a:bodyPr>
          <a:lstStyle/>
          <a:p>
            <a:r>
              <a:rPr lang="en-US" sz="1100" b="1" dirty="0">
                <a:solidFill>
                  <a:schemeClr val="accent4"/>
                </a:solidFill>
              </a:rPr>
              <a:t>Key Activities</a:t>
            </a:r>
          </a:p>
        </p:txBody>
      </p:sp>
      <p:sp>
        <p:nvSpPr>
          <p:cNvPr id="29" name="TextBox 28"/>
          <p:cNvSpPr txBox="1"/>
          <p:nvPr/>
        </p:nvSpPr>
        <p:spPr>
          <a:xfrm>
            <a:off x="5397778" y="872908"/>
            <a:ext cx="1358540" cy="169277"/>
          </a:xfrm>
          <a:prstGeom prst="rect">
            <a:avLst/>
          </a:prstGeom>
          <a:noFill/>
        </p:spPr>
        <p:txBody>
          <a:bodyPr wrap="square" lIns="0" tIns="0" rIns="0" bIns="0" rtlCol="0">
            <a:spAutoFit/>
          </a:bodyPr>
          <a:lstStyle/>
          <a:p>
            <a:r>
              <a:rPr lang="en-US" sz="1100" b="1" dirty="0">
                <a:solidFill>
                  <a:schemeClr val="accent4"/>
                </a:solidFill>
              </a:rPr>
              <a:t>Value Propositions</a:t>
            </a:r>
          </a:p>
        </p:txBody>
      </p:sp>
      <p:sp>
        <p:nvSpPr>
          <p:cNvPr id="30" name="TextBox 29"/>
          <p:cNvSpPr txBox="1"/>
          <p:nvPr/>
        </p:nvSpPr>
        <p:spPr>
          <a:xfrm>
            <a:off x="7145680" y="872907"/>
            <a:ext cx="1703469" cy="169277"/>
          </a:xfrm>
          <a:prstGeom prst="rect">
            <a:avLst/>
          </a:prstGeom>
          <a:noFill/>
        </p:spPr>
        <p:txBody>
          <a:bodyPr wrap="square" lIns="0" tIns="0" rIns="0" bIns="0" rtlCol="0">
            <a:spAutoFit/>
          </a:bodyPr>
          <a:lstStyle/>
          <a:p>
            <a:r>
              <a:rPr lang="en-US" sz="1100" b="1" dirty="0">
                <a:solidFill>
                  <a:schemeClr val="accent4"/>
                </a:solidFill>
              </a:rPr>
              <a:t>Customer Relationships</a:t>
            </a:r>
          </a:p>
        </p:txBody>
      </p:sp>
      <p:sp>
        <p:nvSpPr>
          <p:cNvPr id="31" name="TextBox 30"/>
          <p:cNvSpPr txBox="1"/>
          <p:nvPr/>
        </p:nvSpPr>
        <p:spPr>
          <a:xfrm>
            <a:off x="8881208" y="864740"/>
            <a:ext cx="1358540" cy="169277"/>
          </a:xfrm>
          <a:prstGeom prst="rect">
            <a:avLst/>
          </a:prstGeom>
          <a:noFill/>
        </p:spPr>
        <p:txBody>
          <a:bodyPr wrap="square" lIns="0" tIns="0" rIns="0" bIns="0" rtlCol="0">
            <a:spAutoFit/>
          </a:bodyPr>
          <a:lstStyle/>
          <a:p>
            <a:r>
              <a:rPr lang="en-US" sz="1100" b="1" dirty="0">
                <a:solidFill>
                  <a:schemeClr val="accent4"/>
                </a:solidFill>
              </a:rPr>
              <a:t>Customer Segments</a:t>
            </a:r>
          </a:p>
        </p:txBody>
      </p:sp>
      <p:sp>
        <p:nvSpPr>
          <p:cNvPr id="32" name="TextBox 31"/>
          <p:cNvSpPr txBox="1"/>
          <p:nvPr/>
        </p:nvSpPr>
        <p:spPr>
          <a:xfrm>
            <a:off x="3638649" y="2726373"/>
            <a:ext cx="1088570" cy="169277"/>
          </a:xfrm>
          <a:prstGeom prst="rect">
            <a:avLst/>
          </a:prstGeom>
          <a:noFill/>
        </p:spPr>
        <p:txBody>
          <a:bodyPr wrap="square" lIns="0" tIns="0" rIns="0" bIns="0" rtlCol="0">
            <a:spAutoFit/>
          </a:bodyPr>
          <a:lstStyle/>
          <a:p>
            <a:r>
              <a:rPr lang="en-US" sz="1100" b="1" dirty="0">
                <a:solidFill>
                  <a:schemeClr val="accent4"/>
                </a:solidFill>
              </a:rPr>
              <a:t>Key Resources</a:t>
            </a:r>
          </a:p>
        </p:txBody>
      </p:sp>
      <p:sp>
        <p:nvSpPr>
          <p:cNvPr id="33" name="TextBox 32"/>
          <p:cNvSpPr txBox="1"/>
          <p:nvPr/>
        </p:nvSpPr>
        <p:spPr>
          <a:xfrm>
            <a:off x="7135152" y="3483565"/>
            <a:ext cx="831664" cy="169277"/>
          </a:xfrm>
          <a:prstGeom prst="rect">
            <a:avLst/>
          </a:prstGeom>
          <a:noFill/>
        </p:spPr>
        <p:txBody>
          <a:bodyPr wrap="square" lIns="0" tIns="0" rIns="0" bIns="0" rtlCol="0">
            <a:spAutoFit/>
          </a:bodyPr>
          <a:lstStyle/>
          <a:p>
            <a:r>
              <a:rPr lang="en-US" sz="1100" b="1" dirty="0">
                <a:solidFill>
                  <a:schemeClr val="accent4"/>
                </a:solidFill>
              </a:rPr>
              <a:t>Channels</a:t>
            </a:r>
          </a:p>
        </p:txBody>
      </p:sp>
      <p:sp>
        <p:nvSpPr>
          <p:cNvPr id="36" name="TextBox 35"/>
          <p:cNvSpPr txBox="1"/>
          <p:nvPr/>
        </p:nvSpPr>
        <p:spPr>
          <a:xfrm>
            <a:off x="1870808" y="4940655"/>
            <a:ext cx="1088570" cy="169277"/>
          </a:xfrm>
          <a:prstGeom prst="rect">
            <a:avLst/>
          </a:prstGeom>
          <a:noFill/>
        </p:spPr>
        <p:txBody>
          <a:bodyPr wrap="square" lIns="0" tIns="0" rIns="0" bIns="0" rtlCol="0">
            <a:spAutoFit/>
          </a:bodyPr>
          <a:lstStyle/>
          <a:p>
            <a:r>
              <a:rPr lang="en-US" sz="1100" b="1" dirty="0">
                <a:solidFill>
                  <a:schemeClr val="accent4"/>
                </a:solidFill>
              </a:rPr>
              <a:t>Cost Structure</a:t>
            </a:r>
          </a:p>
        </p:txBody>
      </p:sp>
      <p:sp>
        <p:nvSpPr>
          <p:cNvPr id="37" name="TextBox 36"/>
          <p:cNvSpPr txBox="1"/>
          <p:nvPr/>
        </p:nvSpPr>
        <p:spPr>
          <a:xfrm>
            <a:off x="6285222" y="4940655"/>
            <a:ext cx="1621443" cy="169277"/>
          </a:xfrm>
          <a:prstGeom prst="rect">
            <a:avLst/>
          </a:prstGeom>
          <a:noFill/>
        </p:spPr>
        <p:txBody>
          <a:bodyPr wrap="square" lIns="0" tIns="0" rIns="0" bIns="0" rtlCol="0">
            <a:spAutoFit/>
          </a:bodyPr>
          <a:lstStyle/>
          <a:p>
            <a:r>
              <a:rPr lang="en-US" sz="1100" b="1" dirty="0">
                <a:solidFill>
                  <a:schemeClr val="accent4"/>
                </a:solidFill>
              </a:rPr>
              <a:t>Revenue Streams</a:t>
            </a:r>
          </a:p>
        </p:txBody>
      </p:sp>
      <p:sp>
        <p:nvSpPr>
          <p:cNvPr id="38" name="Freeform 317"/>
          <p:cNvSpPr>
            <a:spLocks noChangeAspect="1" noEditPoints="1"/>
          </p:cNvSpPr>
          <p:nvPr/>
        </p:nvSpPr>
        <p:spPr bwMode="auto">
          <a:xfrm>
            <a:off x="5065720" y="887203"/>
            <a:ext cx="179664" cy="179337"/>
          </a:xfrm>
          <a:custGeom>
            <a:avLst/>
            <a:gdLst>
              <a:gd name="T0" fmla="*/ 409 w 550"/>
              <a:gd name="T1" fmla="*/ 145 h 549"/>
              <a:gd name="T2" fmla="*/ 215 w 550"/>
              <a:gd name="T3" fmla="*/ 334 h 549"/>
              <a:gd name="T4" fmla="*/ 213 w 550"/>
              <a:gd name="T5" fmla="*/ 336 h 549"/>
              <a:gd name="T6" fmla="*/ 210 w 550"/>
              <a:gd name="T7" fmla="*/ 337 h 549"/>
              <a:gd name="T8" fmla="*/ 204 w 550"/>
              <a:gd name="T9" fmla="*/ 336 h 549"/>
              <a:gd name="T10" fmla="*/ 150 w 550"/>
              <a:gd name="T11" fmla="*/ 280 h 549"/>
              <a:gd name="T12" fmla="*/ 114 w 550"/>
              <a:gd name="T13" fmla="*/ 269 h 549"/>
              <a:gd name="T14" fmla="*/ 87 w 550"/>
              <a:gd name="T15" fmla="*/ 289 h 549"/>
              <a:gd name="T16" fmla="*/ 84 w 550"/>
              <a:gd name="T17" fmla="*/ 304 h 549"/>
              <a:gd name="T18" fmla="*/ 96 w 550"/>
              <a:gd name="T19" fmla="*/ 334 h 549"/>
              <a:gd name="T20" fmla="*/ 180 w 550"/>
              <a:gd name="T21" fmla="*/ 421 h 549"/>
              <a:gd name="T22" fmla="*/ 189 w 550"/>
              <a:gd name="T23" fmla="*/ 428 h 549"/>
              <a:gd name="T24" fmla="*/ 206 w 550"/>
              <a:gd name="T25" fmla="*/ 433 h 549"/>
              <a:gd name="T26" fmla="*/ 220 w 550"/>
              <a:gd name="T27" fmla="*/ 430 h 549"/>
              <a:gd name="T28" fmla="*/ 442 w 550"/>
              <a:gd name="T29" fmla="*/ 210 h 549"/>
              <a:gd name="T30" fmla="*/ 454 w 550"/>
              <a:gd name="T31" fmla="*/ 173 h 549"/>
              <a:gd name="T32" fmla="*/ 426 w 550"/>
              <a:gd name="T33" fmla="*/ 145 h 549"/>
              <a:gd name="T34" fmla="*/ 323 w 550"/>
              <a:gd name="T35" fmla="*/ 4 h 549"/>
              <a:gd name="T36" fmla="*/ 414 w 550"/>
              <a:gd name="T37" fmla="*/ 37 h 549"/>
              <a:gd name="T38" fmla="*/ 485 w 550"/>
              <a:gd name="T39" fmla="*/ 98 h 549"/>
              <a:gd name="T40" fmla="*/ 533 w 550"/>
              <a:gd name="T41" fmla="*/ 179 h 549"/>
              <a:gd name="T42" fmla="*/ 550 w 550"/>
              <a:gd name="T43" fmla="*/ 275 h 549"/>
              <a:gd name="T44" fmla="*/ 533 w 550"/>
              <a:gd name="T45" fmla="*/ 371 h 549"/>
              <a:gd name="T46" fmla="*/ 485 w 550"/>
              <a:gd name="T47" fmla="*/ 451 h 549"/>
              <a:gd name="T48" fmla="*/ 414 w 550"/>
              <a:gd name="T49" fmla="*/ 512 h 549"/>
              <a:gd name="T50" fmla="*/ 323 w 550"/>
              <a:gd name="T51" fmla="*/ 545 h 549"/>
              <a:gd name="T52" fmla="*/ 225 w 550"/>
              <a:gd name="T53" fmla="*/ 545 h 549"/>
              <a:gd name="T54" fmla="*/ 136 w 550"/>
              <a:gd name="T55" fmla="*/ 512 h 549"/>
              <a:gd name="T56" fmla="*/ 65 w 550"/>
              <a:gd name="T57" fmla="*/ 451 h 549"/>
              <a:gd name="T58" fmla="*/ 18 w 550"/>
              <a:gd name="T59" fmla="*/ 371 h 549"/>
              <a:gd name="T60" fmla="*/ 0 w 550"/>
              <a:gd name="T61" fmla="*/ 275 h 549"/>
              <a:gd name="T62" fmla="*/ 18 w 550"/>
              <a:gd name="T63" fmla="*/ 179 h 549"/>
              <a:gd name="T64" fmla="*/ 65 w 550"/>
              <a:gd name="T65" fmla="*/ 98 h 549"/>
              <a:gd name="T66" fmla="*/ 136 w 550"/>
              <a:gd name="T67" fmla="*/ 37 h 549"/>
              <a:gd name="T68" fmla="*/ 225 w 550"/>
              <a:gd name="T69" fmla="*/ 4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0" h="549">
                <a:moveTo>
                  <a:pt x="426" y="145"/>
                </a:moveTo>
                <a:lnTo>
                  <a:pt x="409" y="145"/>
                </a:lnTo>
                <a:lnTo>
                  <a:pt x="389" y="158"/>
                </a:lnTo>
                <a:lnTo>
                  <a:pt x="215" y="334"/>
                </a:lnTo>
                <a:lnTo>
                  <a:pt x="215" y="336"/>
                </a:lnTo>
                <a:lnTo>
                  <a:pt x="213" y="336"/>
                </a:lnTo>
                <a:lnTo>
                  <a:pt x="211" y="336"/>
                </a:lnTo>
                <a:lnTo>
                  <a:pt x="210" y="337"/>
                </a:lnTo>
                <a:lnTo>
                  <a:pt x="206" y="336"/>
                </a:lnTo>
                <a:lnTo>
                  <a:pt x="204" y="336"/>
                </a:lnTo>
                <a:lnTo>
                  <a:pt x="203" y="334"/>
                </a:lnTo>
                <a:lnTo>
                  <a:pt x="150" y="280"/>
                </a:lnTo>
                <a:lnTo>
                  <a:pt x="131" y="269"/>
                </a:lnTo>
                <a:lnTo>
                  <a:pt x="114" y="269"/>
                </a:lnTo>
                <a:lnTo>
                  <a:pt x="96" y="280"/>
                </a:lnTo>
                <a:lnTo>
                  <a:pt x="87" y="289"/>
                </a:lnTo>
                <a:lnTo>
                  <a:pt x="89" y="289"/>
                </a:lnTo>
                <a:lnTo>
                  <a:pt x="84" y="304"/>
                </a:lnTo>
                <a:lnTo>
                  <a:pt x="86" y="318"/>
                </a:lnTo>
                <a:lnTo>
                  <a:pt x="96" y="334"/>
                </a:lnTo>
                <a:lnTo>
                  <a:pt x="150" y="388"/>
                </a:lnTo>
                <a:lnTo>
                  <a:pt x="180" y="421"/>
                </a:lnTo>
                <a:lnTo>
                  <a:pt x="180" y="421"/>
                </a:lnTo>
                <a:lnTo>
                  <a:pt x="189" y="428"/>
                </a:lnTo>
                <a:lnTo>
                  <a:pt x="197" y="432"/>
                </a:lnTo>
                <a:lnTo>
                  <a:pt x="206" y="433"/>
                </a:lnTo>
                <a:lnTo>
                  <a:pt x="206" y="433"/>
                </a:lnTo>
                <a:lnTo>
                  <a:pt x="220" y="430"/>
                </a:lnTo>
                <a:lnTo>
                  <a:pt x="234" y="420"/>
                </a:lnTo>
                <a:lnTo>
                  <a:pt x="442" y="210"/>
                </a:lnTo>
                <a:lnTo>
                  <a:pt x="454" y="193"/>
                </a:lnTo>
                <a:lnTo>
                  <a:pt x="454" y="173"/>
                </a:lnTo>
                <a:lnTo>
                  <a:pt x="444" y="156"/>
                </a:lnTo>
                <a:lnTo>
                  <a:pt x="426" y="145"/>
                </a:lnTo>
                <a:close/>
                <a:moveTo>
                  <a:pt x="274" y="0"/>
                </a:moveTo>
                <a:lnTo>
                  <a:pt x="323" y="4"/>
                </a:lnTo>
                <a:lnTo>
                  <a:pt x="370" y="16"/>
                </a:lnTo>
                <a:lnTo>
                  <a:pt x="414" y="37"/>
                </a:lnTo>
                <a:lnTo>
                  <a:pt x="452" y="65"/>
                </a:lnTo>
                <a:lnTo>
                  <a:pt x="485" y="98"/>
                </a:lnTo>
                <a:lnTo>
                  <a:pt x="512" y="137"/>
                </a:lnTo>
                <a:lnTo>
                  <a:pt x="533" y="179"/>
                </a:lnTo>
                <a:lnTo>
                  <a:pt x="545" y="226"/>
                </a:lnTo>
                <a:lnTo>
                  <a:pt x="550" y="275"/>
                </a:lnTo>
                <a:lnTo>
                  <a:pt x="545" y="323"/>
                </a:lnTo>
                <a:lnTo>
                  <a:pt x="533" y="371"/>
                </a:lnTo>
                <a:lnTo>
                  <a:pt x="512" y="413"/>
                </a:lnTo>
                <a:lnTo>
                  <a:pt x="485" y="451"/>
                </a:lnTo>
                <a:lnTo>
                  <a:pt x="452" y="484"/>
                </a:lnTo>
                <a:lnTo>
                  <a:pt x="414" y="512"/>
                </a:lnTo>
                <a:lnTo>
                  <a:pt x="370" y="533"/>
                </a:lnTo>
                <a:lnTo>
                  <a:pt x="323" y="545"/>
                </a:lnTo>
                <a:lnTo>
                  <a:pt x="274" y="549"/>
                </a:lnTo>
                <a:lnTo>
                  <a:pt x="225" y="545"/>
                </a:lnTo>
                <a:lnTo>
                  <a:pt x="178" y="533"/>
                </a:lnTo>
                <a:lnTo>
                  <a:pt x="136" y="512"/>
                </a:lnTo>
                <a:lnTo>
                  <a:pt x="98" y="484"/>
                </a:lnTo>
                <a:lnTo>
                  <a:pt x="65" y="451"/>
                </a:lnTo>
                <a:lnTo>
                  <a:pt x="37" y="413"/>
                </a:lnTo>
                <a:lnTo>
                  <a:pt x="18" y="371"/>
                </a:lnTo>
                <a:lnTo>
                  <a:pt x="4" y="323"/>
                </a:lnTo>
                <a:lnTo>
                  <a:pt x="0" y="275"/>
                </a:lnTo>
                <a:lnTo>
                  <a:pt x="4" y="226"/>
                </a:lnTo>
                <a:lnTo>
                  <a:pt x="18" y="179"/>
                </a:lnTo>
                <a:lnTo>
                  <a:pt x="37" y="137"/>
                </a:lnTo>
                <a:lnTo>
                  <a:pt x="65" y="98"/>
                </a:lnTo>
                <a:lnTo>
                  <a:pt x="98" y="65"/>
                </a:lnTo>
                <a:lnTo>
                  <a:pt x="136" y="37"/>
                </a:lnTo>
                <a:lnTo>
                  <a:pt x="178" y="16"/>
                </a:lnTo>
                <a:lnTo>
                  <a:pt x="225" y="4"/>
                </a:lnTo>
                <a:lnTo>
                  <a:pt x="27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grpSp>
        <p:nvGrpSpPr>
          <p:cNvPr id="39" name="Group 38"/>
          <p:cNvGrpSpPr/>
          <p:nvPr/>
        </p:nvGrpSpPr>
        <p:grpSpPr>
          <a:xfrm>
            <a:off x="5078057" y="2768234"/>
            <a:ext cx="191665" cy="162760"/>
            <a:chOff x="119063" y="915460"/>
            <a:chExt cx="884238" cy="750888"/>
          </a:xfrm>
        </p:grpSpPr>
        <p:sp>
          <p:nvSpPr>
            <p:cNvPr id="40" name="Freeform 39"/>
            <p:cNvSpPr>
              <a:spLocks/>
            </p:cNvSpPr>
            <p:nvPr/>
          </p:nvSpPr>
          <p:spPr bwMode="auto">
            <a:xfrm>
              <a:off x="300038" y="1409173"/>
              <a:ext cx="703263" cy="257175"/>
            </a:xfrm>
            <a:custGeom>
              <a:avLst/>
              <a:gdLst>
                <a:gd name="T0" fmla="*/ 139 w 443"/>
                <a:gd name="T1" fmla="*/ 0 h 162"/>
                <a:gd name="T2" fmla="*/ 144 w 443"/>
                <a:gd name="T3" fmla="*/ 2 h 162"/>
                <a:gd name="T4" fmla="*/ 148 w 443"/>
                <a:gd name="T5" fmla="*/ 3 h 162"/>
                <a:gd name="T6" fmla="*/ 195 w 443"/>
                <a:gd name="T7" fmla="*/ 29 h 162"/>
                <a:gd name="T8" fmla="*/ 246 w 443"/>
                <a:gd name="T9" fmla="*/ 28 h 162"/>
                <a:gd name="T10" fmla="*/ 296 w 443"/>
                <a:gd name="T11" fmla="*/ 3 h 162"/>
                <a:gd name="T12" fmla="*/ 298 w 443"/>
                <a:gd name="T13" fmla="*/ 2 h 162"/>
                <a:gd name="T14" fmla="*/ 310 w 443"/>
                <a:gd name="T15" fmla="*/ 0 h 162"/>
                <a:gd name="T16" fmla="*/ 323 w 443"/>
                <a:gd name="T17" fmla="*/ 2 h 162"/>
                <a:gd name="T18" fmla="*/ 391 w 443"/>
                <a:gd name="T19" fmla="*/ 31 h 162"/>
                <a:gd name="T20" fmla="*/ 440 w 443"/>
                <a:gd name="T21" fmla="*/ 54 h 162"/>
                <a:gd name="T22" fmla="*/ 441 w 443"/>
                <a:gd name="T23" fmla="*/ 57 h 162"/>
                <a:gd name="T24" fmla="*/ 443 w 443"/>
                <a:gd name="T25" fmla="*/ 68 h 162"/>
                <a:gd name="T26" fmla="*/ 440 w 443"/>
                <a:gd name="T27" fmla="*/ 82 h 162"/>
                <a:gd name="T28" fmla="*/ 427 w 443"/>
                <a:gd name="T29" fmla="*/ 91 h 162"/>
                <a:gd name="T30" fmla="*/ 394 w 443"/>
                <a:gd name="T31" fmla="*/ 115 h 162"/>
                <a:gd name="T32" fmla="*/ 340 w 443"/>
                <a:gd name="T33" fmla="*/ 141 h 162"/>
                <a:gd name="T34" fmla="*/ 267 w 443"/>
                <a:gd name="T35" fmla="*/ 159 h 162"/>
                <a:gd name="T36" fmla="*/ 218 w 443"/>
                <a:gd name="T37" fmla="*/ 162 h 162"/>
                <a:gd name="T38" fmla="*/ 136 w 443"/>
                <a:gd name="T39" fmla="*/ 152 h 162"/>
                <a:gd name="T40" fmla="*/ 73 w 443"/>
                <a:gd name="T41" fmla="*/ 127 h 162"/>
                <a:gd name="T42" fmla="*/ 28 w 443"/>
                <a:gd name="T43" fmla="*/ 103 h 162"/>
                <a:gd name="T44" fmla="*/ 5 w 443"/>
                <a:gd name="T45" fmla="*/ 84 h 162"/>
                <a:gd name="T46" fmla="*/ 0 w 443"/>
                <a:gd name="T47" fmla="*/ 73 h 162"/>
                <a:gd name="T48" fmla="*/ 0 w 443"/>
                <a:gd name="T49" fmla="*/ 63 h 162"/>
                <a:gd name="T50" fmla="*/ 1 w 443"/>
                <a:gd name="T51" fmla="*/ 56 h 162"/>
                <a:gd name="T52" fmla="*/ 26 w 443"/>
                <a:gd name="T53" fmla="*/ 42 h 162"/>
                <a:gd name="T54" fmla="*/ 94 w 443"/>
                <a:gd name="T55" fmla="*/ 14 h 162"/>
                <a:gd name="T56" fmla="*/ 96 w 443"/>
                <a:gd name="T57" fmla="*/ 12 h 162"/>
                <a:gd name="T58" fmla="*/ 103 w 443"/>
                <a:gd name="T59" fmla="*/ 10 h 162"/>
                <a:gd name="T60" fmla="*/ 111 w 443"/>
                <a:gd name="T61" fmla="*/ 5 h 162"/>
                <a:gd name="T62" fmla="*/ 120 w 443"/>
                <a:gd name="T63" fmla="*/ 2 h 162"/>
                <a:gd name="T64" fmla="*/ 124 w 443"/>
                <a:gd name="T65" fmla="*/ 0 h 162"/>
                <a:gd name="T66" fmla="*/ 132 w 443"/>
                <a:gd name="T6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3" h="162">
                  <a:moveTo>
                    <a:pt x="132" y="0"/>
                  </a:moveTo>
                  <a:lnTo>
                    <a:pt x="139" y="0"/>
                  </a:lnTo>
                  <a:lnTo>
                    <a:pt x="144" y="2"/>
                  </a:lnTo>
                  <a:lnTo>
                    <a:pt x="144" y="2"/>
                  </a:lnTo>
                  <a:lnTo>
                    <a:pt x="144" y="2"/>
                  </a:lnTo>
                  <a:lnTo>
                    <a:pt x="148" y="3"/>
                  </a:lnTo>
                  <a:lnTo>
                    <a:pt x="171" y="19"/>
                  </a:lnTo>
                  <a:lnTo>
                    <a:pt x="195" y="29"/>
                  </a:lnTo>
                  <a:lnTo>
                    <a:pt x="221" y="33"/>
                  </a:lnTo>
                  <a:lnTo>
                    <a:pt x="246" y="28"/>
                  </a:lnTo>
                  <a:lnTo>
                    <a:pt x="272" y="19"/>
                  </a:lnTo>
                  <a:lnTo>
                    <a:pt x="296" y="3"/>
                  </a:lnTo>
                  <a:lnTo>
                    <a:pt x="296" y="3"/>
                  </a:lnTo>
                  <a:lnTo>
                    <a:pt x="298" y="2"/>
                  </a:lnTo>
                  <a:lnTo>
                    <a:pt x="303" y="0"/>
                  </a:lnTo>
                  <a:lnTo>
                    <a:pt x="310" y="0"/>
                  </a:lnTo>
                  <a:lnTo>
                    <a:pt x="317" y="0"/>
                  </a:lnTo>
                  <a:lnTo>
                    <a:pt x="323" y="2"/>
                  </a:lnTo>
                  <a:lnTo>
                    <a:pt x="323" y="2"/>
                  </a:lnTo>
                  <a:lnTo>
                    <a:pt x="391" y="31"/>
                  </a:lnTo>
                  <a:lnTo>
                    <a:pt x="415" y="42"/>
                  </a:lnTo>
                  <a:lnTo>
                    <a:pt x="440" y="54"/>
                  </a:lnTo>
                  <a:lnTo>
                    <a:pt x="440" y="56"/>
                  </a:lnTo>
                  <a:lnTo>
                    <a:pt x="441" y="57"/>
                  </a:lnTo>
                  <a:lnTo>
                    <a:pt x="443" y="63"/>
                  </a:lnTo>
                  <a:lnTo>
                    <a:pt x="443" y="68"/>
                  </a:lnTo>
                  <a:lnTo>
                    <a:pt x="443" y="73"/>
                  </a:lnTo>
                  <a:lnTo>
                    <a:pt x="440" y="82"/>
                  </a:lnTo>
                  <a:lnTo>
                    <a:pt x="436" y="84"/>
                  </a:lnTo>
                  <a:lnTo>
                    <a:pt x="427" y="91"/>
                  </a:lnTo>
                  <a:lnTo>
                    <a:pt x="413" y="103"/>
                  </a:lnTo>
                  <a:lnTo>
                    <a:pt x="394" y="115"/>
                  </a:lnTo>
                  <a:lnTo>
                    <a:pt x="370" y="127"/>
                  </a:lnTo>
                  <a:lnTo>
                    <a:pt x="340" y="141"/>
                  </a:lnTo>
                  <a:lnTo>
                    <a:pt x="305" y="152"/>
                  </a:lnTo>
                  <a:lnTo>
                    <a:pt x="267" y="159"/>
                  </a:lnTo>
                  <a:lnTo>
                    <a:pt x="225" y="162"/>
                  </a:lnTo>
                  <a:lnTo>
                    <a:pt x="218" y="162"/>
                  </a:lnTo>
                  <a:lnTo>
                    <a:pt x="174" y="159"/>
                  </a:lnTo>
                  <a:lnTo>
                    <a:pt x="136" y="152"/>
                  </a:lnTo>
                  <a:lnTo>
                    <a:pt x="103" y="141"/>
                  </a:lnTo>
                  <a:lnTo>
                    <a:pt x="73" y="127"/>
                  </a:lnTo>
                  <a:lnTo>
                    <a:pt x="48" y="115"/>
                  </a:lnTo>
                  <a:lnTo>
                    <a:pt x="28" y="103"/>
                  </a:lnTo>
                  <a:lnTo>
                    <a:pt x="14" y="91"/>
                  </a:lnTo>
                  <a:lnTo>
                    <a:pt x="5" y="84"/>
                  </a:lnTo>
                  <a:lnTo>
                    <a:pt x="1" y="82"/>
                  </a:lnTo>
                  <a:lnTo>
                    <a:pt x="0" y="73"/>
                  </a:lnTo>
                  <a:lnTo>
                    <a:pt x="0" y="68"/>
                  </a:lnTo>
                  <a:lnTo>
                    <a:pt x="0" y="63"/>
                  </a:lnTo>
                  <a:lnTo>
                    <a:pt x="1" y="57"/>
                  </a:lnTo>
                  <a:lnTo>
                    <a:pt x="1" y="56"/>
                  </a:lnTo>
                  <a:lnTo>
                    <a:pt x="1" y="54"/>
                  </a:lnTo>
                  <a:lnTo>
                    <a:pt x="26" y="42"/>
                  </a:lnTo>
                  <a:lnTo>
                    <a:pt x="52" y="31"/>
                  </a:lnTo>
                  <a:lnTo>
                    <a:pt x="94" y="14"/>
                  </a:lnTo>
                  <a:lnTo>
                    <a:pt x="94" y="14"/>
                  </a:lnTo>
                  <a:lnTo>
                    <a:pt x="96" y="12"/>
                  </a:lnTo>
                  <a:lnTo>
                    <a:pt x="97" y="12"/>
                  </a:lnTo>
                  <a:lnTo>
                    <a:pt x="103" y="10"/>
                  </a:lnTo>
                  <a:lnTo>
                    <a:pt x="106" y="7"/>
                  </a:lnTo>
                  <a:lnTo>
                    <a:pt x="111" y="5"/>
                  </a:lnTo>
                  <a:lnTo>
                    <a:pt x="117" y="3"/>
                  </a:lnTo>
                  <a:lnTo>
                    <a:pt x="120" y="2"/>
                  </a:lnTo>
                  <a:lnTo>
                    <a:pt x="122" y="2"/>
                  </a:lnTo>
                  <a:lnTo>
                    <a:pt x="124" y="0"/>
                  </a:lnTo>
                  <a:lnTo>
                    <a:pt x="127" y="0"/>
                  </a:lnTo>
                  <a:lnTo>
                    <a:pt x="13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41" name="Freeform 40"/>
            <p:cNvSpPr>
              <a:spLocks/>
            </p:cNvSpPr>
            <p:nvPr/>
          </p:nvSpPr>
          <p:spPr bwMode="auto">
            <a:xfrm>
              <a:off x="485775" y="1015473"/>
              <a:ext cx="328613" cy="398463"/>
            </a:xfrm>
            <a:custGeom>
              <a:avLst/>
              <a:gdLst>
                <a:gd name="T0" fmla="*/ 104 w 207"/>
                <a:gd name="T1" fmla="*/ 0 h 251"/>
                <a:gd name="T2" fmla="*/ 137 w 207"/>
                <a:gd name="T3" fmla="*/ 5 h 251"/>
                <a:gd name="T4" fmla="*/ 165 w 207"/>
                <a:gd name="T5" fmla="*/ 21 h 251"/>
                <a:gd name="T6" fmla="*/ 188 w 207"/>
                <a:gd name="T7" fmla="*/ 43 h 251"/>
                <a:gd name="T8" fmla="*/ 202 w 207"/>
                <a:gd name="T9" fmla="*/ 71 h 251"/>
                <a:gd name="T10" fmla="*/ 207 w 207"/>
                <a:gd name="T11" fmla="*/ 105 h 251"/>
                <a:gd name="T12" fmla="*/ 207 w 207"/>
                <a:gd name="T13" fmla="*/ 131 h 251"/>
                <a:gd name="T14" fmla="*/ 202 w 207"/>
                <a:gd name="T15" fmla="*/ 159 h 251"/>
                <a:gd name="T16" fmla="*/ 193 w 207"/>
                <a:gd name="T17" fmla="*/ 187 h 251"/>
                <a:gd name="T18" fmla="*/ 178 w 207"/>
                <a:gd name="T19" fmla="*/ 213 h 251"/>
                <a:gd name="T20" fmla="*/ 162 w 207"/>
                <a:gd name="T21" fmla="*/ 229 h 251"/>
                <a:gd name="T22" fmla="*/ 144 w 207"/>
                <a:gd name="T23" fmla="*/ 241 h 251"/>
                <a:gd name="T24" fmla="*/ 124 w 207"/>
                <a:gd name="T25" fmla="*/ 250 h 251"/>
                <a:gd name="T26" fmla="*/ 104 w 207"/>
                <a:gd name="T27" fmla="*/ 251 h 251"/>
                <a:gd name="T28" fmla="*/ 83 w 207"/>
                <a:gd name="T29" fmla="*/ 250 h 251"/>
                <a:gd name="T30" fmla="*/ 62 w 207"/>
                <a:gd name="T31" fmla="*/ 239 h 251"/>
                <a:gd name="T32" fmla="*/ 41 w 207"/>
                <a:gd name="T33" fmla="*/ 225 h 251"/>
                <a:gd name="T34" fmla="*/ 26 w 207"/>
                <a:gd name="T35" fmla="*/ 208 h 251"/>
                <a:gd name="T36" fmla="*/ 12 w 207"/>
                <a:gd name="T37" fmla="*/ 181 h 251"/>
                <a:gd name="T38" fmla="*/ 5 w 207"/>
                <a:gd name="T39" fmla="*/ 155 h 251"/>
                <a:gd name="T40" fmla="*/ 1 w 207"/>
                <a:gd name="T41" fmla="*/ 129 h 251"/>
                <a:gd name="T42" fmla="*/ 0 w 207"/>
                <a:gd name="T43" fmla="*/ 105 h 251"/>
                <a:gd name="T44" fmla="*/ 5 w 207"/>
                <a:gd name="T45" fmla="*/ 71 h 251"/>
                <a:gd name="T46" fmla="*/ 20 w 207"/>
                <a:gd name="T47" fmla="*/ 43 h 251"/>
                <a:gd name="T48" fmla="*/ 43 w 207"/>
                <a:gd name="T49" fmla="*/ 21 h 251"/>
                <a:gd name="T50" fmla="*/ 71 w 207"/>
                <a:gd name="T51" fmla="*/ 5 h 251"/>
                <a:gd name="T52" fmla="*/ 104 w 207"/>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251">
                  <a:moveTo>
                    <a:pt x="104" y="0"/>
                  </a:moveTo>
                  <a:lnTo>
                    <a:pt x="137" y="5"/>
                  </a:lnTo>
                  <a:lnTo>
                    <a:pt x="165" y="21"/>
                  </a:lnTo>
                  <a:lnTo>
                    <a:pt x="188" y="43"/>
                  </a:lnTo>
                  <a:lnTo>
                    <a:pt x="202" y="71"/>
                  </a:lnTo>
                  <a:lnTo>
                    <a:pt x="207" y="105"/>
                  </a:lnTo>
                  <a:lnTo>
                    <a:pt x="207" y="131"/>
                  </a:lnTo>
                  <a:lnTo>
                    <a:pt x="202" y="159"/>
                  </a:lnTo>
                  <a:lnTo>
                    <a:pt x="193" y="187"/>
                  </a:lnTo>
                  <a:lnTo>
                    <a:pt x="178" y="213"/>
                  </a:lnTo>
                  <a:lnTo>
                    <a:pt x="162" y="229"/>
                  </a:lnTo>
                  <a:lnTo>
                    <a:pt x="144" y="241"/>
                  </a:lnTo>
                  <a:lnTo>
                    <a:pt x="124" y="250"/>
                  </a:lnTo>
                  <a:lnTo>
                    <a:pt x="104" y="251"/>
                  </a:lnTo>
                  <a:lnTo>
                    <a:pt x="83" y="250"/>
                  </a:lnTo>
                  <a:lnTo>
                    <a:pt x="62" y="239"/>
                  </a:lnTo>
                  <a:lnTo>
                    <a:pt x="41" y="225"/>
                  </a:lnTo>
                  <a:lnTo>
                    <a:pt x="26" y="208"/>
                  </a:lnTo>
                  <a:lnTo>
                    <a:pt x="12" y="181"/>
                  </a:lnTo>
                  <a:lnTo>
                    <a:pt x="5" y="155"/>
                  </a:lnTo>
                  <a:lnTo>
                    <a:pt x="1" y="129"/>
                  </a:lnTo>
                  <a:lnTo>
                    <a:pt x="0" y="105"/>
                  </a:lnTo>
                  <a:lnTo>
                    <a:pt x="5" y="71"/>
                  </a:lnTo>
                  <a:lnTo>
                    <a:pt x="20" y="43"/>
                  </a:lnTo>
                  <a:lnTo>
                    <a:pt x="43" y="21"/>
                  </a:lnTo>
                  <a:lnTo>
                    <a:pt x="71" y="5"/>
                  </a:lnTo>
                  <a:lnTo>
                    <a:pt x="1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42" name="Freeform 41"/>
            <p:cNvSpPr>
              <a:spLocks/>
            </p:cNvSpPr>
            <p:nvPr/>
          </p:nvSpPr>
          <p:spPr bwMode="auto">
            <a:xfrm>
              <a:off x="255588" y="915460"/>
              <a:ext cx="219075" cy="266700"/>
            </a:xfrm>
            <a:custGeom>
              <a:avLst/>
              <a:gdLst>
                <a:gd name="T0" fmla="*/ 69 w 138"/>
                <a:gd name="T1" fmla="*/ 0 h 168"/>
                <a:gd name="T2" fmla="*/ 90 w 138"/>
                <a:gd name="T3" fmla="*/ 3 h 168"/>
                <a:gd name="T4" fmla="*/ 110 w 138"/>
                <a:gd name="T5" fmla="*/ 14 h 168"/>
                <a:gd name="T6" fmla="*/ 125 w 138"/>
                <a:gd name="T7" fmla="*/ 30 h 168"/>
                <a:gd name="T8" fmla="*/ 134 w 138"/>
                <a:gd name="T9" fmla="*/ 47 h 168"/>
                <a:gd name="T10" fmla="*/ 138 w 138"/>
                <a:gd name="T11" fmla="*/ 70 h 168"/>
                <a:gd name="T12" fmla="*/ 138 w 138"/>
                <a:gd name="T13" fmla="*/ 77 h 168"/>
                <a:gd name="T14" fmla="*/ 138 w 138"/>
                <a:gd name="T15" fmla="*/ 86 h 168"/>
                <a:gd name="T16" fmla="*/ 120 w 138"/>
                <a:gd name="T17" fmla="*/ 115 h 168"/>
                <a:gd name="T18" fmla="*/ 111 w 138"/>
                <a:gd name="T19" fmla="*/ 150 h 168"/>
                <a:gd name="T20" fmla="*/ 97 w 138"/>
                <a:gd name="T21" fmla="*/ 159 h 168"/>
                <a:gd name="T22" fmla="*/ 83 w 138"/>
                <a:gd name="T23" fmla="*/ 166 h 168"/>
                <a:gd name="T24" fmla="*/ 69 w 138"/>
                <a:gd name="T25" fmla="*/ 168 h 168"/>
                <a:gd name="T26" fmla="*/ 50 w 138"/>
                <a:gd name="T27" fmla="*/ 164 h 168"/>
                <a:gd name="T28" fmla="*/ 31 w 138"/>
                <a:gd name="T29" fmla="*/ 154 h 168"/>
                <a:gd name="T30" fmla="*/ 17 w 138"/>
                <a:gd name="T31" fmla="*/ 138 h 168"/>
                <a:gd name="T32" fmla="*/ 5 w 138"/>
                <a:gd name="T33" fmla="*/ 115 h 168"/>
                <a:gd name="T34" fmla="*/ 1 w 138"/>
                <a:gd name="T35" fmla="*/ 93 h 168"/>
                <a:gd name="T36" fmla="*/ 0 w 138"/>
                <a:gd name="T37" fmla="*/ 70 h 168"/>
                <a:gd name="T38" fmla="*/ 3 w 138"/>
                <a:gd name="T39" fmla="*/ 47 h 168"/>
                <a:gd name="T40" fmla="*/ 14 w 138"/>
                <a:gd name="T41" fmla="*/ 30 h 168"/>
                <a:gd name="T42" fmla="*/ 28 w 138"/>
                <a:gd name="T43" fmla="*/ 14 h 168"/>
                <a:gd name="T44" fmla="*/ 47 w 138"/>
                <a:gd name="T45" fmla="*/ 3 h 168"/>
                <a:gd name="T46" fmla="*/ 69 w 138"/>
                <a:gd name="T4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 h="168">
                  <a:moveTo>
                    <a:pt x="69" y="0"/>
                  </a:moveTo>
                  <a:lnTo>
                    <a:pt x="90" y="3"/>
                  </a:lnTo>
                  <a:lnTo>
                    <a:pt x="110" y="14"/>
                  </a:lnTo>
                  <a:lnTo>
                    <a:pt x="125" y="30"/>
                  </a:lnTo>
                  <a:lnTo>
                    <a:pt x="134" y="47"/>
                  </a:lnTo>
                  <a:lnTo>
                    <a:pt x="138" y="70"/>
                  </a:lnTo>
                  <a:lnTo>
                    <a:pt x="138" y="77"/>
                  </a:lnTo>
                  <a:lnTo>
                    <a:pt x="138" y="86"/>
                  </a:lnTo>
                  <a:lnTo>
                    <a:pt x="120" y="115"/>
                  </a:lnTo>
                  <a:lnTo>
                    <a:pt x="111" y="150"/>
                  </a:lnTo>
                  <a:lnTo>
                    <a:pt x="97" y="159"/>
                  </a:lnTo>
                  <a:lnTo>
                    <a:pt x="83" y="166"/>
                  </a:lnTo>
                  <a:lnTo>
                    <a:pt x="69" y="168"/>
                  </a:lnTo>
                  <a:lnTo>
                    <a:pt x="50" y="164"/>
                  </a:lnTo>
                  <a:lnTo>
                    <a:pt x="31" y="154"/>
                  </a:lnTo>
                  <a:lnTo>
                    <a:pt x="17" y="138"/>
                  </a:lnTo>
                  <a:lnTo>
                    <a:pt x="5" y="115"/>
                  </a:lnTo>
                  <a:lnTo>
                    <a:pt x="1" y="93"/>
                  </a:lnTo>
                  <a:lnTo>
                    <a:pt x="0" y="70"/>
                  </a:lnTo>
                  <a:lnTo>
                    <a:pt x="3" y="47"/>
                  </a:lnTo>
                  <a:lnTo>
                    <a:pt x="14" y="30"/>
                  </a:lnTo>
                  <a:lnTo>
                    <a:pt x="28" y="14"/>
                  </a:lnTo>
                  <a:lnTo>
                    <a:pt x="47" y="3"/>
                  </a:lnTo>
                  <a:lnTo>
                    <a:pt x="6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43" name="Freeform 42"/>
            <p:cNvSpPr>
              <a:spLocks/>
            </p:cNvSpPr>
            <p:nvPr/>
          </p:nvSpPr>
          <p:spPr bwMode="auto">
            <a:xfrm>
              <a:off x="119063" y="1183748"/>
              <a:ext cx="338138" cy="177800"/>
            </a:xfrm>
            <a:custGeom>
              <a:avLst/>
              <a:gdLst>
                <a:gd name="T0" fmla="*/ 93 w 213"/>
                <a:gd name="T1" fmla="*/ 0 h 112"/>
                <a:gd name="T2" fmla="*/ 96 w 213"/>
                <a:gd name="T3" fmla="*/ 0 h 112"/>
                <a:gd name="T4" fmla="*/ 101 w 213"/>
                <a:gd name="T5" fmla="*/ 0 h 112"/>
                <a:gd name="T6" fmla="*/ 101 w 213"/>
                <a:gd name="T7" fmla="*/ 0 h 112"/>
                <a:gd name="T8" fmla="*/ 101 w 213"/>
                <a:gd name="T9" fmla="*/ 2 h 112"/>
                <a:gd name="T10" fmla="*/ 103 w 213"/>
                <a:gd name="T11" fmla="*/ 2 h 112"/>
                <a:gd name="T12" fmla="*/ 128 w 213"/>
                <a:gd name="T13" fmla="*/ 16 h 112"/>
                <a:gd name="T14" fmla="*/ 154 w 213"/>
                <a:gd name="T15" fmla="*/ 21 h 112"/>
                <a:gd name="T16" fmla="*/ 169 w 213"/>
                <a:gd name="T17" fmla="*/ 20 h 112"/>
                <a:gd name="T18" fmla="*/ 183 w 213"/>
                <a:gd name="T19" fmla="*/ 14 h 112"/>
                <a:gd name="T20" fmla="*/ 185 w 213"/>
                <a:gd name="T21" fmla="*/ 14 h 112"/>
                <a:gd name="T22" fmla="*/ 189 w 213"/>
                <a:gd name="T23" fmla="*/ 14 h 112"/>
                <a:gd name="T24" fmla="*/ 192 w 213"/>
                <a:gd name="T25" fmla="*/ 16 h 112"/>
                <a:gd name="T26" fmla="*/ 196 w 213"/>
                <a:gd name="T27" fmla="*/ 18 h 112"/>
                <a:gd name="T28" fmla="*/ 197 w 213"/>
                <a:gd name="T29" fmla="*/ 23 h 112"/>
                <a:gd name="T30" fmla="*/ 197 w 213"/>
                <a:gd name="T31" fmla="*/ 23 h 112"/>
                <a:gd name="T32" fmla="*/ 203 w 213"/>
                <a:gd name="T33" fmla="*/ 61 h 112"/>
                <a:gd name="T34" fmla="*/ 213 w 213"/>
                <a:gd name="T35" fmla="*/ 95 h 112"/>
                <a:gd name="T36" fmla="*/ 213 w 213"/>
                <a:gd name="T37" fmla="*/ 95 h 112"/>
                <a:gd name="T38" fmla="*/ 213 w 213"/>
                <a:gd name="T39" fmla="*/ 98 h 112"/>
                <a:gd name="T40" fmla="*/ 211 w 213"/>
                <a:gd name="T41" fmla="*/ 102 h 112"/>
                <a:gd name="T42" fmla="*/ 210 w 213"/>
                <a:gd name="T43" fmla="*/ 105 h 112"/>
                <a:gd name="T44" fmla="*/ 204 w 213"/>
                <a:gd name="T45" fmla="*/ 107 h 112"/>
                <a:gd name="T46" fmla="*/ 182 w 213"/>
                <a:gd name="T47" fmla="*/ 110 h 112"/>
                <a:gd name="T48" fmla="*/ 155 w 213"/>
                <a:gd name="T49" fmla="*/ 112 h 112"/>
                <a:gd name="T50" fmla="*/ 150 w 213"/>
                <a:gd name="T51" fmla="*/ 112 h 112"/>
                <a:gd name="T52" fmla="*/ 114 w 213"/>
                <a:gd name="T53" fmla="*/ 109 h 112"/>
                <a:gd name="T54" fmla="*/ 80 w 213"/>
                <a:gd name="T55" fmla="*/ 100 h 112"/>
                <a:gd name="T56" fmla="*/ 54 w 213"/>
                <a:gd name="T57" fmla="*/ 89 h 112"/>
                <a:gd name="T58" fmla="*/ 32 w 213"/>
                <a:gd name="T59" fmla="*/ 77 h 112"/>
                <a:gd name="T60" fmla="*/ 16 w 213"/>
                <a:gd name="T61" fmla="*/ 67 h 112"/>
                <a:gd name="T62" fmla="*/ 5 w 213"/>
                <a:gd name="T63" fmla="*/ 60 h 112"/>
                <a:gd name="T64" fmla="*/ 2 w 213"/>
                <a:gd name="T65" fmla="*/ 56 h 112"/>
                <a:gd name="T66" fmla="*/ 0 w 213"/>
                <a:gd name="T67" fmla="*/ 49 h 112"/>
                <a:gd name="T68" fmla="*/ 0 w 213"/>
                <a:gd name="T69" fmla="*/ 44 h 112"/>
                <a:gd name="T70" fmla="*/ 0 w 213"/>
                <a:gd name="T71" fmla="*/ 41 h 112"/>
                <a:gd name="T72" fmla="*/ 2 w 213"/>
                <a:gd name="T73" fmla="*/ 39 h 112"/>
                <a:gd name="T74" fmla="*/ 2 w 213"/>
                <a:gd name="T75" fmla="*/ 37 h 112"/>
                <a:gd name="T76" fmla="*/ 35 w 213"/>
                <a:gd name="T77" fmla="*/ 21 h 112"/>
                <a:gd name="T78" fmla="*/ 66 w 213"/>
                <a:gd name="T79" fmla="*/ 9 h 112"/>
                <a:gd name="T80" fmla="*/ 66 w 213"/>
                <a:gd name="T81" fmla="*/ 9 h 112"/>
                <a:gd name="T82" fmla="*/ 66 w 213"/>
                <a:gd name="T83" fmla="*/ 9 h 112"/>
                <a:gd name="T84" fmla="*/ 68 w 213"/>
                <a:gd name="T85" fmla="*/ 7 h 112"/>
                <a:gd name="T86" fmla="*/ 72 w 213"/>
                <a:gd name="T87" fmla="*/ 6 h 112"/>
                <a:gd name="T88" fmla="*/ 77 w 213"/>
                <a:gd name="T89" fmla="*/ 4 h 112"/>
                <a:gd name="T90" fmla="*/ 80 w 213"/>
                <a:gd name="T91" fmla="*/ 2 h 112"/>
                <a:gd name="T92" fmla="*/ 82 w 213"/>
                <a:gd name="T93" fmla="*/ 0 h 112"/>
                <a:gd name="T94" fmla="*/ 84 w 213"/>
                <a:gd name="T95" fmla="*/ 0 h 112"/>
                <a:gd name="T96" fmla="*/ 87 w 213"/>
                <a:gd name="T97" fmla="*/ 0 h 112"/>
                <a:gd name="T98" fmla="*/ 93 w 213"/>
                <a:gd name="T9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3" h="112">
                  <a:moveTo>
                    <a:pt x="93" y="0"/>
                  </a:moveTo>
                  <a:lnTo>
                    <a:pt x="96" y="0"/>
                  </a:lnTo>
                  <a:lnTo>
                    <a:pt x="101" y="0"/>
                  </a:lnTo>
                  <a:lnTo>
                    <a:pt x="101" y="0"/>
                  </a:lnTo>
                  <a:lnTo>
                    <a:pt x="101" y="2"/>
                  </a:lnTo>
                  <a:lnTo>
                    <a:pt x="103" y="2"/>
                  </a:lnTo>
                  <a:lnTo>
                    <a:pt x="128" y="16"/>
                  </a:lnTo>
                  <a:lnTo>
                    <a:pt x="154" y="21"/>
                  </a:lnTo>
                  <a:lnTo>
                    <a:pt x="169" y="20"/>
                  </a:lnTo>
                  <a:lnTo>
                    <a:pt x="183" y="14"/>
                  </a:lnTo>
                  <a:lnTo>
                    <a:pt x="185" y="14"/>
                  </a:lnTo>
                  <a:lnTo>
                    <a:pt x="189" y="14"/>
                  </a:lnTo>
                  <a:lnTo>
                    <a:pt x="192" y="16"/>
                  </a:lnTo>
                  <a:lnTo>
                    <a:pt x="196" y="18"/>
                  </a:lnTo>
                  <a:lnTo>
                    <a:pt x="197" y="23"/>
                  </a:lnTo>
                  <a:lnTo>
                    <a:pt x="197" y="23"/>
                  </a:lnTo>
                  <a:lnTo>
                    <a:pt x="203" y="61"/>
                  </a:lnTo>
                  <a:lnTo>
                    <a:pt x="213" y="95"/>
                  </a:lnTo>
                  <a:lnTo>
                    <a:pt x="213" y="95"/>
                  </a:lnTo>
                  <a:lnTo>
                    <a:pt x="213" y="98"/>
                  </a:lnTo>
                  <a:lnTo>
                    <a:pt x="211" y="102"/>
                  </a:lnTo>
                  <a:lnTo>
                    <a:pt x="210" y="105"/>
                  </a:lnTo>
                  <a:lnTo>
                    <a:pt x="204" y="107"/>
                  </a:lnTo>
                  <a:lnTo>
                    <a:pt x="182" y="110"/>
                  </a:lnTo>
                  <a:lnTo>
                    <a:pt x="155" y="112"/>
                  </a:lnTo>
                  <a:lnTo>
                    <a:pt x="150" y="112"/>
                  </a:lnTo>
                  <a:lnTo>
                    <a:pt x="114" y="109"/>
                  </a:lnTo>
                  <a:lnTo>
                    <a:pt x="80" y="100"/>
                  </a:lnTo>
                  <a:lnTo>
                    <a:pt x="54" y="89"/>
                  </a:lnTo>
                  <a:lnTo>
                    <a:pt x="32" y="77"/>
                  </a:lnTo>
                  <a:lnTo>
                    <a:pt x="16" y="67"/>
                  </a:lnTo>
                  <a:lnTo>
                    <a:pt x="5" y="60"/>
                  </a:lnTo>
                  <a:lnTo>
                    <a:pt x="2" y="56"/>
                  </a:lnTo>
                  <a:lnTo>
                    <a:pt x="0" y="49"/>
                  </a:lnTo>
                  <a:lnTo>
                    <a:pt x="0" y="44"/>
                  </a:lnTo>
                  <a:lnTo>
                    <a:pt x="0" y="41"/>
                  </a:lnTo>
                  <a:lnTo>
                    <a:pt x="2" y="39"/>
                  </a:lnTo>
                  <a:lnTo>
                    <a:pt x="2" y="37"/>
                  </a:lnTo>
                  <a:lnTo>
                    <a:pt x="35" y="21"/>
                  </a:lnTo>
                  <a:lnTo>
                    <a:pt x="66" y="9"/>
                  </a:lnTo>
                  <a:lnTo>
                    <a:pt x="66" y="9"/>
                  </a:lnTo>
                  <a:lnTo>
                    <a:pt x="66" y="9"/>
                  </a:lnTo>
                  <a:lnTo>
                    <a:pt x="68" y="7"/>
                  </a:lnTo>
                  <a:lnTo>
                    <a:pt x="72" y="6"/>
                  </a:lnTo>
                  <a:lnTo>
                    <a:pt x="77" y="4"/>
                  </a:lnTo>
                  <a:lnTo>
                    <a:pt x="80" y="2"/>
                  </a:lnTo>
                  <a:lnTo>
                    <a:pt x="82" y="0"/>
                  </a:lnTo>
                  <a:lnTo>
                    <a:pt x="84" y="0"/>
                  </a:lnTo>
                  <a:lnTo>
                    <a:pt x="87" y="0"/>
                  </a:lnTo>
                  <a:lnTo>
                    <a:pt x="9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grpSp>
      <p:grpSp>
        <p:nvGrpSpPr>
          <p:cNvPr id="44" name="Group 43"/>
          <p:cNvGrpSpPr>
            <a:grpSpLocks noChangeAspect="1"/>
          </p:cNvGrpSpPr>
          <p:nvPr/>
        </p:nvGrpSpPr>
        <p:grpSpPr>
          <a:xfrm>
            <a:off x="8542059" y="3549923"/>
            <a:ext cx="224627" cy="187326"/>
            <a:chOff x="8021638" y="994307"/>
            <a:chExt cx="869950" cy="725488"/>
          </a:xfrm>
          <a:solidFill>
            <a:schemeClr val="tx1"/>
          </a:solidFill>
        </p:grpSpPr>
        <p:sp>
          <p:nvSpPr>
            <p:cNvPr id="46" name="Freeform 458"/>
            <p:cNvSpPr>
              <a:spLocks noEditPoints="1"/>
            </p:cNvSpPr>
            <p:nvPr/>
          </p:nvSpPr>
          <p:spPr bwMode="auto">
            <a:xfrm>
              <a:off x="8021638" y="1087969"/>
              <a:ext cx="276225" cy="444500"/>
            </a:xfrm>
            <a:custGeom>
              <a:avLst/>
              <a:gdLst>
                <a:gd name="T0" fmla="*/ 94 w 174"/>
                <a:gd name="T1" fmla="*/ 39 h 280"/>
                <a:gd name="T2" fmla="*/ 91 w 174"/>
                <a:gd name="T3" fmla="*/ 42 h 280"/>
                <a:gd name="T4" fmla="*/ 70 w 174"/>
                <a:gd name="T5" fmla="*/ 112 h 280"/>
                <a:gd name="T6" fmla="*/ 73 w 174"/>
                <a:gd name="T7" fmla="*/ 114 h 280"/>
                <a:gd name="T8" fmla="*/ 141 w 174"/>
                <a:gd name="T9" fmla="*/ 114 h 280"/>
                <a:gd name="T10" fmla="*/ 143 w 174"/>
                <a:gd name="T11" fmla="*/ 108 h 280"/>
                <a:gd name="T12" fmla="*/ 143 w 174"/>
                <a:gd name="T13" fmla="*/ 40 h 280"/>
                <a:gd name="T14" fmla="*/ 138 w 174"/>
                <a:gd name="T15" fmla="*/ 37 h 280"/>
                <a:gd name="T16" fmla="*/ 87 w 174"/>
                <a:gd name="T17" fmla="*/ 0 h 280"/>
                <a:gd name="T18" fmla="*/ 108 w 174"/>
                <a:gd name="T19" fmla="*/ 0 h 280"/>
                <a:gd name="T20" fmla="*/ 134 w 174"/>
                <a:gd name="T21" fmla="*/ 0 h 280"/>
                <a:gd name="T22" fmla="*/ 141 w 174"/>
                <a:gd name="T23" fmla="*/ 0 h 280"/>
                <a:gd name="T24" fmla="*/ 155 w 174"/>
                <a:gd name="T25" fmla="*/ 2 h 280"/>
                <a:gd name="T26" fmla="*/ 171 w 174"/>
                <a:gd name="T27" fmla="*/ 18 h 280"/>
                <a:gd name="T28" fmla="*/ 174 w 174"/>
                <a:gd name="T29" fmla="*/ 42 h 280"/>
                <a:gd name="T30" fmla="*/ 173 w 174"/>
                <a:gd name="T31" fmla="*/ 201 h 280"/>
                <a:gd name="T32" fmla="*/ 169 w 174"/>
                <a:gd name="T33" fmla="*/ 217 h 280"/>
                <a:gd name="T34" fmla="*/ 154 w 174"/>
                <a:gd name="T35" fmla="*/ 232 h 280"/>
                <a:gd name="T36" fmla="*/ 85 w 174"/>
                <a:gd name="T37" fmla="*/ 234 h 280"/>
                <a:gd name="T38" fmla="*/ 75 w 174"/>
                <a:gd name="T39" fmla="*/ 234 h 280"/>
                <a:gd name="T40" fmla="*/ 54 w 174"/>
                <a:gd name="T41" fmla="*/ 239 h 280"/>
                <a:gd name="T42" fmla="*/ 37 w 174"/>
                <a:gd name="T43" fmla="*/ 253 h 280"/>
                <a:gd name="T44" fmla="*/ 33 w 174"/>
                <a:gd name="T45" fmla="*/ 266 h 280"/>
                <a:gd name="T46" fmla="*/ 33 w 174"/>
                <a:gd name="T47" fmla="*/ 271 h 280"/>
                <a:gd name="T48" fmla="*/ 28 w 174"/>
                <a:gd name="T49" fmla="*/ 276 h 280"/>
                <a:gd name="T50" fmla="*/ 21 w 174"/>
                <a:gd name="T51" fmla="*/ 280 h 280"/>
                <a:gd name="T52" fmla="*/ 14 w 174"/>
                <a:gd name="T53" fmla="*/ 280 h 280"/>
                <a:gd name="T54" fmla="*/ 10 w 174"/>
                <a:gd name="T55" fmla="*/ 280 h 280"/>
                <a:gd name="T56" fmla="*/ 3 w 174"/>
                <a:gd name="T57" fmla="*/ 278 h 280"/>
                <a:gd name="T58" fmla="*/ 0 w 174"/>
                <a:gd name="T59" fmla="*/ 271 h 280"/>
                <a:gd name="T60" fmla="*/ 0 w 174"/>
                <a:gd name="T61" fmla="*/ 180 h 280"/>
                <a:gd name="T62" fmla="*/ 5 w 174"/>
                <a:gd name="T63" fmla="*/ 164 h 280"/>
                <a:gd name="T64" fmla="*/ 16 w 174"/>
                <a:gd name="T65" fmla="*/ 131 h 280"/>
                <a:gd name="T66" fmla="*/ 51 w 174"/>
                <a:gd name="T67" fmla="*/ 35 h 280"/>
                <a:gd name="T68" fmla="*/ 56 w 174"/>
                <a:gd name="T69" fmla="*/ 23 h 280"/>
                <a:gd name="T70" fmla="*/ 73 w 174"/>
                <a:gd name="T71" fmla="*/ 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4" h="280">
                  <a:moveTo>
                    <a:pt x="98" y="37"/>
                  </a:moveTo>
                  <a:lnTo>
                    <a:pt x="94" y="39"/>
                  </a:lnTo>
                  <a:lnTo>
                    <a:pt x="92" y="40"/>
                  </a:lnTo>
                  <a:lnTo>
                    <a:pt x="91" y="42"/>
                  </a:lnTo>
                  <a:lnTo>
                    <a:pt x="70" y="108"/>
                  </a:lnTo>
                  <a:lnTo>
                    <a:pt x="70" y="112"/>
                  </a:lnTo>
                  <a:lnTo>
                    <a:pt x="71" y="114"/>
                  </a:lnTo>
                  <a:lnTo>
                    <a:pt x="73" y="114"/>
                  </a:lnTo>
                  <a:lnTo>
                    <a:pt x="138" y="114"/>
                  </a:lnTo>
                  <a:lnTo>
                    <a:pt x="141" y="114"/>
                  </a:lnTo>
                  <a:lnTo>
                    <a:pt x="143" y="112"/>
                  </a:lnTo>
                  <a:lnTo>
                    <a:pt x="143" y="108"/>
                  </a:lnTo>
                  <a:lnTo>
                    <a:pt x="143" y="42"/>
                  </a:lnTo>
                  <a:lnTo>
                    <a:pt x="143" y="40"/>
                  </a:lnTo>
                  <a:lnTo>
                    <a:pt x="141" y="39"/>
                  </a:lnTo>
                  <a:lnTo>
                    <a:pt x="138" y="37"/>
                  </a:lnTo>
                  <a:lnTo>
                    <a:pt x="98" y="37"/>
                  </a:lnTo>
                  <a:close/>
                  <a:moveTo>
                    <a:pt x="87" y="0"/>
                  </a:moveTo>
                  <a:lnTo>
                    <a:pt x="96" y="0"/>
                  </a:lnTo>
                  <a:lnTo>
                    <a:pt x="108" y="0"/>
                  </a:lnTo>
                  <a:lnTo>
                    <a:pt x="122" y="0"/>
                  </a:lnTo>
                  <a:lnTo>
                    <a:pt x="134" y="0"/>
                  </a:lnTo>
                  <a:lnTo>
                    <a:pt x="138" y="0"/>
                  </a:lnTo>
                  <a:lnTo>
                    <a:pt x="141" y="0"/>
                  </a:lnTo>
                  <a:lnTo>
                    <a:pt x="147" y="0"/>
                  </a:lnTo>
                  <a:lnTo>
                    <a:pt x="155" y="2"/>
                  </a:lnTo>
                  <a:lnTo>
                    <a:pt x="164" y="7"/>
                  </a:lnTo>
                  <a:lnTo>
                    <a:pt x="171" y="18"/>
                  </a:lnTo>
                  <a:lnTo>
                    <a:pt x="174" y="32"/>
                  </a:lnTo>
                  <a:lnTo>
                    <a:pt x="174" y="42"/>
                  </a:lnTo>
                  <a:lnTo>
                    <a:pt x="173" y="199"/>
                  </a:lnTo>
                  <a:lnTo>
                    <a:pt x="173" y="201"/>
                  </a:lnTo>
                  <a:lnTo>
                    <a:pt x="171" y="208"/>
                  </a:lnTo>
                  <a:lnTo>
                    <a:pt x="169" y="217"/>
                  </a:lnTo>
                  <a:lnTo>
                    <a:pt x="162" y="225"/>
                  </a:lnTo>
                  <a:lnTo>
                    <a:pt x="154" y="232"/>
                  </a:lnTo>
                  <a:lnTo>
                    <a:pt x="140" y="234"/>
                  </a:lnTo>
                  <a:lnTo>
                    <a:pt x="85" y="234"/>
                  </a:lnTo>
                  <a:lnTo>
                    <a:pt x="82" y="234"/>
                  </a:lnTo>
                  <a:lnTo>
                    <a:pt x="75" y="234"/>
                  </a:lnTo>
                  <a:lnTo>
                    <a:pt x="64" y="236"/>
                  </a:lnTo>
                  <a:lnTo>
                    <a:pt x="54" y="239"/>
                  </a:lnTo>
                  <a:lnTo>
                    <a:pt x="44" y="245"/>
                  </a:lnTo>
                  <a:lnTo>
                    <a:pt x="37" y="253"/>
                  </a:lnTo>
                  <a:lnTo>
                    <a:pt x="33" y="266"/>
                  </a:lnTo>
                  <a:lnTo>
                    <a:pt x="33" y="266"/>
                  </a:lnTo>
                  <a:lnTo>
                    <a:pt x="33" y="267"/>
                  </a:lnTo>
                  <a:lnTo>
                    <a:pt x="33" y="271"/>
                  </a:lnTo>
                  <a:lnTo>
                    <a:pt x="31" y="273"/>
                  </a:lnTo>
                  <a:lnTo>
                    <a:pt x="28" y="276"/>
                  </a:lnTo>
                  <a:lnTo>
                    <a:pt x="26" y="278"/>
                  </a:lnTo>
                  <a:lnTo>
                    <a:pt x="21" y="280"/>
                  </a:lnTo>
                  <a:lnTo>
                    <a:pt x="16" y="280"/>
                  </a:lnTo>
                  <a:lnTo>
                    <a:pt x="14" y="280"/>
                  </a:lnTo>
                  <a:lnTo>
                    <a:pt x="12" y="280"/>
                  </a:lnTo>
                  <a:lnTo>
                    <a:pt x="10" y="280"/>
                  </a:lnTo>
                  <a:lnTo>
                    <a:pt x="7" y="280"/>
                  </a:lnTo>
                  <a:lnTo>
                    <a:pt x="3" y="278"/>
                  </a:lnTo>
                  <a:lnTo>
                    <a:pt x="2" y="276"/>
                  </a:lnTo>
                  <a:lnTo>
                    <a:pt x="0" y="271"/>
                  </a:lnTo>
                  <a:lnTo>
                    <a:pt x="0" y="266"/>
                  </a:lnTo>
                  <a:lnTo>
                    <a:pt x="0" y="180"/>
                  </a:lnTo>
                  <a:lnTo>
                    <a:pt x="0" y="175"/>
                  </a:lnTo>
                  <a:lnTo>
                    <a:pt x="5" y="164"/>
                  </a:lnTo>
                  <a:lnTo>
                    <a:pt x="10" y="149"/>
                  </a:lnTo>
                  <a:lnTo>
                    <a:pt x="16" y="131"/>
                  </a:lnTo>
                  <a:lnTo>
                    <a:pt x="23" y="114"/>
                  </a:lnTo>
                  <a:lnTo>
                    <a:pt x="51" y="35"/>
                  </a:lnTo>
                  <a:lnTo>
                    <a:pt x="52" y="32"/>
                  </a:lnTo>
                  <a:lnTo>
                    <a:pt x="56" y="23"/>
                  </a:lnTo>
                  <a:lnTo>
                    <a:pt x="63" y="12"/>
                  </a:lnTo>
                  <a:lnTo>
                    <a:pt x="73" y="4"/>
                  </a:lnTo>
                  <a:lnTo>
                    <a:pt x="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47" name="Freeform 459"/>
            <p:cNvSpPr>
              <a:spLocks/>
            </p:cNvSpPr>
            <p:nvPr/>
          </p:nvSpPr>
          <p:spPr bwMode="auto">
            <a:xfrm>
              <a:off x="8353425" y="994307"/>
              <a:ext cx="538163" cy="550863"/>
            </a:xfrm>
            <a:custGeom>
              <a:avLst/>
              <a:gdLst>
                <a:gd name="T0" fmla="*/ 283 w 339"/>
                <a:gd name="T1" fmla="*/ 0 h 347"/>
                <a:gd name="T2" fmla="*/ 304 w 339"/>
                <a:gd name="T3" fmla="*/ 0 h 347"/>
                <a:gd name="T4" fmla="*/ 316 w 339"/>
                <a:gd name="T5" fmla="*/ 0 h 347"/>
                <a:gd name="T6" fmla="*/ 323 w 339"/>
                <a:gd name="T7" fmla="*/ 1 h 347"/>
                <a:gd name="T8" fmla="*/ 325 w 339"/>
                <a:gd name="T9" fmla="*/ 3 h 347"/>
                <a:gd name="T10" fmla="*/ 329 w 339"/>
                <a:gd name="T11" fmla="*/ 7 h 347"/>
                <a:gd name="T12" fmla="*/ 332 w 339"/>
                <a:gd name="T13" fmla="*/ 10 h 347"/>
                <a:gd name="T14" fmla="*/ 336 w 339"/>
                <a:gd name="T15" fmla="*/ 14 h 347"/>
                <a:gd name="T16" fmla="*/ 337 w 339"/>
                <a:gd name="T17" fmla="*/ 19 h 347"/>
                <a:gd name="T18" fmla="*/ 339 w 339"/>
                <a:gd name="T19" fmla="*/ 26 h 347"/>
                <a:gd name="T20" fmla="*/ 339 w 339"/>
                <a:gd name="T21" fmla="*/ 264 h 347"/>
                <a:gd name="T22" fmla="*/ 337 w 339"/>
                <a:gd name="T23" fmla="*/ 270 h 347"/>
                <a:gd name="T24" fmla="*/ 336 w 339"/>
                <a:gd name="T25" fmla="*/ 276 h 347"/>
                <a:gd name="T26" fmla="*/ 332 w 339"/>
                <a:gd name="T27" fmla="*/ 279 h 347"/>
                <a:gd name="T28" fmla="*/ 329 w 339"/>
                <a:gd name="T29" fmla="*/ 283 h 347"/>
                <a:gd name="T30" fmla="*/ 325 w 339"/>
                <a:gd name="T31" fmla="*/ 284 h 347"/>
                <a:gd name="T32" fmla="*/ 323 w 339"/>
                <a:gd name="T33" fmla="*/ 286 h 347"/>
                <a:gd name="T34" fmla="*/ 316 w 339"/>
                <a:gd name="T35" fmla="*/ 288 h 347"/>
                <a:gd name="T36" fmla="*/ 301 w 339"/>
                <a:gd name="T37" fmla="*/ 288 h 347"/>
                <a:gd name="T38" fmla="*/ 280 w 339"/>
                <a:gd name="T39" fmla="*/ 290 h 347"/>
                <a:gd name="T40" fmla="*/ 255 w 339"/>
                <a:gd name="T41" fmla="*/ 290 h 347"/>
                <a:gd name="T42" fmla="*/ 238 w 339"/>
                <a:gd name="T43" fmla="*/ 293 h 347"/>
                <a:gd name="T44" fmla="*/ 219 w 339"/>
                <a:gd name="T45" fmla="*/ 304 h 347"/>
                <a:gd name="T46" fmla="*/ 212 w 339"/>
                <a:gd name="T47" fmla="*/ 311 h 347"/>
                <a:gd name="T48" fmla="*/ 205 w 339"/>
                <a:gd name="T49" fmla="*/ 316 h 347"/>
                <a:gd name="T50" fmla="*/ 199 w 339"/>
                <a:gd name="T51" fmla="*/ 323 h 347"/>
                <a:gd name="T52" fmla="*/ 196 w 339"/>
                <a:gd name="T53" fmla="*/ 328 h 347"/>
                <a:gd name="T54" fmla="*/ 194 w 339"/>
                <a:gd name="T55" fmla="*/ 332 h 347"/>
                <a:gd name="T56" fmla="*/ 191 w 339"/>
                <a:gd name="T57" fmla="*/ 337 h 347"/>
                <a:gd name="T58" fmla="*/ 185 w 339"/>
                <a:gd name="T59" fmla="*/ 344 h 347"/>
                <a:gd name="T60" fmla="*/ 180 w 339"/>
                <a:gd name="T61" fmla="*/ 347 h 347"/>
                <a:gd name="T62" fmla="*/ 18 w 339"/>
                <a:gd name="T63" fmla="*/ 347 h 347"/>
                <a:gd name="T64" fmla="*/ 14 w 339"/>
                <a:gd name="T65" fmla="*/ 346 h 347"/>
                <a:gd name="T66" fmla="*/ 9 w 339"/>
                <a:gd name="T67" fmla="*/ 339 h 347"/>
                <a:gd name="T68" fmla="*/ 2 w 339"/>
                <a:gd name="T69" fmla="*/ 328 h 347"/>
                <a:gd name="T70" fmla="*/ 0 w 339"/>
                <a:gd name="T71" fmla="*/ 312 h 347"/>
                <a:gd name="T72" fmla="*/ 0 w 339"/>
                <a:gd name="T73" fmla="*/ 26 h 347"/>
                <a:gd name="T74" fmla="*/ 0 w 339"/>
                <a:gd name="T75" fmla="*/ 19 h 347"/>
                <a:gd name="T76" fmla="*/ 2 w 339"/>
                <a:gd name="T77" fmla="*/ 14 h 347"/>
                <a:gd name="T78" fmla="*/ 6 w 339"/>
                <a:gd name="T79" fmla="*/ 10 h 347"/>
                <a:gd name="T80" fmla="*/ 9 w 339"/>
                <a:gd name="T81" fmla="*/ 7 h 347"/>
                <a:gd name="T82" fmla="*/ 13 w 339"/>
                <a:gd name="T83" fmla="*/ 3 h 347"/>
                <a:gd name="T84" fmla="*/ 16 w 339"/>
                <a:gd name="T85" fmla="*/ 1 h 347"/>
                <a:gd name="T86" fmla="*/ 20 w 339"/>
                <a:gd name="T87" fmla="*/ 0 h 347"/>
                <a:gd name="T88" fmla="*/ 27 w 339"/>
                <a:gd name="T89" fmla="*/ 0 h 347"/>
                <a:gd name="T90" fmla="*/ 39 w 339"/>
                <a:gd name="T91" fmla="*/ 0 h 347"/>
                <a:gd name="T92" fmla="*/ 58 w 339"/>
                <a:gd name="T93" fmla="*/ 0 h 347"/>
                <a:gd name="T94" fmla="*/ 84 w 339"/>
                <a:gd name="T95" fmla="*/ 0 h 347"/>
                <a:gd name="T96" fmla="*/ 117 w 339"/>
                <a:gd name="T97" fmla="*/ 0 h 347"/>
                <a:gd name="T98" fmla="*/ 161 w 339"/>
                <a:gd name="T99" fmla="*/ 0 h 347"/>
                <a:gd name="T100" fmla="*/ 213 w 339"/>
                <a:gd name="T101" fmla="*/ 0 h 347"/>
                <a:gd name="T102" fmla="*/ 252 w 339"/>
                <a:gd name="T103" fmla="*/ 0 h 347"/>
                <a:gd name="T104" fmla="*/ 283 w 339"/>
                <a:gd name="T105"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9" h="347">
                  <a:moveTo>
                    <a:pt x="283" y="0"/>
                  </a:moveTo>
                  <a:lnTo>
                    <a:pt x="304" y="0"/>
                  </a:lnTo>
                  <a:lnTo>
                    <a:pt x="316" y="0"/>
                  </a:lnTo>
                  <a:lnTo>
                    <a:pt x="323" y="1"/>
                  </a:lnTo>
                  <a:lnTo>
                    <a:pt x="325" y="3"/>
                  </a:lnTo>
                  <a:lnTo>
                    <a:pt x="329" y="7"/>
                  </a:lnTo>
                  <a:lnTo>
                    <a:pt x="332" y="10"/>
                  </a:lnTo>
                  <a:lnTo>
                    <a:pt x="336" y="14"/>
                  </a:lnTo>
                  <a:lnTo>
                    <a:pt x="337" y="19"/>
                  </a:lnTo>
                  <a:lnTo>
                    <a:pt x="339" y="26"/>
                  </a:lnTo>
                  <a:lnTo>
                    <a:pt x="339" y="264"/>
                  </a:lnTo>
                  <a:lnTo>
                    <a:pt x="337" y="270"/>
                  </a:lnTo>
                  <a:lnTo>
                    <a:pt x="336" y="276"/>
                  </a:lnTo>
                  <a:lnTo>
                    <a:pt x="332" y="279"/>
                  </a:lnTo>
                  <a:lnTo>
                    <a:pt x="329" y="283"/>
                  </a:lnTo>
                  <a:lnTo>
                    <a:pt x="325" y="284"/>
                  </a:lnTo>
                  <a:lnTo>
                    <a:pt x="323" y="286"/>
                  </a:lnTo>
                  <a:lnTo>
                    <a:pt x="316" y="288"/>
                  </a:lnTo>
                  <a:lnTo>
                    <a:pt x="301" y="288"/>
                  </a:lnTo>
                  <a:lnTo>
                    <a:pt x="280" y="290"/>
                  </a:lnTo>
                  <a:lnTo>
                    <a:pt x="255" y="290"/>
                  </a:lnTo>
                  <a:lnTo>
                    <a:pt x="238" y="293"/>
                  </a:lnTo>
                  <a:lnTo>
                    <a:pt x="219" y="304"/>
                  </a:lnTo>
                  <a:lnTo>
                    <a:pt x="212" y="311"/>
                  </a:lnTo>
                  <a:lnTo>
                    <a:pt x="205" y="316"/>
                  </a:lnTo>
                  <a:lnTo>
                    <a:pt x="199" y="323"/>
                  </a:lnTo>
                  <a:lnTo>
                    <a:pt x="196" y="328"/>
                  </a:lnTo>
                  <a:lnTo>
                    <a:pt x="194" y="332"/>
                  </a:lnTo>
                  <a:lnTo>
                    <a:pt x="191" y="337"/>
                  </a:lnTo>
                  <a:lnTo>
                    <a:pt x="185" y="344"/>
                  </a:lnTo>
                  <a:lnTo>
                    <a:pt x="180" y="347"/>
                  </a:lnTo>
                  <a:lnTo>
                    <a:pt x="18" y="347"/>
                  </a:lnTo>
                  <a:lnTo>
                    <a:pt x="14" y="346"/>
                  </a:lnTo>
                  <a:lnTo>
                    <a:pt x="9" y="339"/>
                  </a:lnTo>
                  <a:lnTo>
                    <a:pt x="2" y="328"/>
                  </a:lnTo>
                  <a:lnTo>
                    <a:pt x="0" y="312"/>
                  </a:lnTo>
                  <a:lnTo>
                    <a:pt x="0" y="26"/>
                  </a:lnTo>
                  <a:lnTo>
                    <a:pt x="0" y="19"/>
                  </a:lnTo>
                  <a:lnTo>
                    <a:pt x="2" y="14"/>
                  </a:lnTo>
                  <a:lnTo>
                    <a:pt x="6" y="10"/>
                  </a:lnTo>
                  <a:lnTo>
                    <a:pt x="9" y="7"/>
                  </a:lnTo>
                  <a:lnTo>
                    <a:pt x="13" y="3"/>
                  </a:lnTo>
                  <a:lnTo>
                    <a:pt x="16" y="1"/>
                  </a:lnTo>
                  <a:lnTo>
                    <a:pt x="20" y="0"/>
                  </a:lnTo>
                  <a:lnTo>
                    <a:pt x="27" y="0"/>
                  </a:lnTo>
                  <a:lnTo>
                    <a:pt x="39" y="0"/>
                  </a:lnTo>
                  <a:lnTo>
                    <a:pt x="58" y="0"/>
                  </a:lnTo>
                  <a:lnTo>
                    <a:pt x="84" y="0"/>
                  </a:lnTo>
                  <a:lnTo>
                    <a:pt x="117" y="0"/>
                  </a:lnTo>
                  <a:lnTo>
                    <a:pt x="161" y="0"/>
                  </a:lnTo>
                  <a:lnTo>
                    <a:pt x="213" y="0"/>
                  </a:lnTo>
                  <a:lnTo>
                    <a:pt x="252" y="0"/>
                  </a:lnTo>
                  <a:lnTo>
                    <a:pt x="2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48" name="Freeform 460"/>
            <p:cNvSpPr>
              <a:spLocks noEditPoints="1"/>
            </p:cNvSpPr>
            <p:nvPr/>
          </p:nvSpPr>
          <p:spPr bwMode="auto">
            <a:xfrm>
              <a:off x="8683625" y="1515007"/>
              <a:ext cx="207963" cy="204788"/>
            </a:xfrm>
            <a:custGeom>
              <a:avLst/>
              <a:gdLst>
                <a:gd name="T0" fmla="*/ 67 w 131"/>
                <a:gd name="T1" fmla="*/ 23 h 129"/>
                <a:gd name="T2" fmla="*/ 56 w 131"/>
                <a:gd name="T3" fmla="*/ 25 h 129"/>
                <a:gd name="T4" fmla="*/ 47 w 131"/>
                <a:gd name="T5" fmla="*/ 26 h 129"/>
                <a:gd name="T6" fmla="*/ 33 w 131"/>
                <a:gd name="T7" fmla="*/ 39 h 129"/>
                <a:gd name="T8" fmla="*/ 25 w 131"/>
                <a:gd name="T9" fmla="*/ 53 h 129"/>
                <a:gd name="T10" fmla="*/ 21 w 131"/>
                <a:gd name="T11" fmla="*/ 70 h 129"/>
                <a:gd name="T12" fmla="*/ 26 w 131"/>
                <a:gd name="T13" fmla="*/ 86 h 129"/>
                <a:gd name="T14" fmla="*/ 37 w 131"/>
                <a:gd name="T15" fmla="*/ 100 h 129"/>
                <a:gd name="T16" fmla="*/ 49 w 131"/>
                <a:gd name="T17" fmla="*/ 108 h 129"/>
                <a:gd name="T18" fmla="*/ 67 w 131"/>
                <a:gd name="T19" fmla="*/ 112 h 129"/>
                <a:gd name="T20" fmla="*/ 75 w 131"/>
                <a:gd name="T21" fmla="*/ 110 h 129"/>
                <a:gd name="T22" fmla="*/ 86 w 131"/>
                <a:gd name="T23" fmla="*/ 107 h 129"/>
                <a:gd name="T24" fmla="*/ 93 w 131"/>
                <a:gd name="T25" fmla="*/ 101 h 129"/>
                <a:gd name="T26" fmla="*/ 100 w 131"/>
                <a:gd name="T27" fmla="*/ 96 h 129"/>
                <a:gd name="T28" fmla="*/ 105 w 131"/>
                <a:gd name="T29" fmla="*/ 89 h 129"/>
                <a:gd name="T30" fmla="*/ 108 w 131"/>
                <a:gd name="T31" fmla="*/ 80 h 129"/>
                <a:gd name="T32" fmla="*/ 110 w 131"/>
                <a:gd name="T33" fmla="*/ 65 h 129"/>
                <a:gd name="T34" fmla="*/ 105 w 131"/>
                <a:gd name="T35" fmla="*/ 47 h 129"/>
                <a:gd name="T36" fmla="*/ 96 w 131"/>
                <a:gd name="T37" fmla="*/ 35 h 129"/>
                <a:gd name="T38" fmla="*/ 82 w 131"/>
                <a:gd name="T39" fmla="*/ 26 h 129"/>
                <a:gd name="T40" fmla="*/ 67 w 131"/>
                <a:gd name="T41" fmla="*/ 23 h 129"/>
                <a:gd name="T42" fmla="*/ 65 w 131"/>
                <a:gd name="T43" fmla="*/ 0 h 129"/>
                <a:gd name="T44" fmla="*/ 86 w 131"/>
                <a:gd name="T45" fmla="*/ 4 h 129"/>
                <a:gd name="T46" fmla="*/ 103 w 131"/>
                <a:gd name="T47" fmla="*/ 12 h 129"/>
                <a:gd name="T48" fmla="*/ 119 w 131"/>
                <a:gd name="T49" fmla="*/ 26 h 129"/>
                <a:gd name="T50" fmla="*/ 128 w 131"/>
                <a:gd name="T51" fmla="*/ 44 h 129"/>
                <a:gd name="T52" fmla="*/ 131 w 131"/>
                <a:gd name="T53" fmla="*/ 65 h 129"/>
                <a:gd name="T54" fmla="*/ 126 w 131"/>
                <a:gd name="T55" fmla="*/ 89 h 129"/>
                <a:gd name="T56" fmla="*/ 112 w 131"/>
                <a:gd name="T57" fmla="*/ 110 h 129"/>
                <a:gd name="T58" fmla="*/ 91 w 131"/>
                <a:gd name="T59" fmla="*/ 124 h 129"/>
                <a:gd name="T60" fmla="*/ 65 w 131"/>
                <a:gd name="T61" fmla="*/ 129 h 129"/>
                <a:gd name="T62" fmla="*/ 44 w 131"/>
                <a:gd name="T63" fmla="*/ 126 h 129"/>
                <a:gd name="T64" fmla="*/ 26 w 131"/>
                <a:gd name="T65" fmla="*/ 117 h 129"/>
                <a:gd name="T66" fmla="*/ 12 w 131"/>
                <a:gd name="T67" fmla="*/ 103 h 129"/>
                <a:gd name="T68" fmla="*/ 4 w 131"/>
                <a:gd name="T69" fmla="*/ 86 h 129"/>
                <a:gd name="T70" fmla="*/ 0 w 131"/>
                <a:gd name="T71" fmla="*/ 65 h 129"/>
                <a:gd name="T72" fmla="*/ 5 w 131"/>
                <a:gd name="T73" fmla="*/ 39 h 129"/>
                <a:gd name="T74" fmla="*/ 19 w 131"/>
                <a:gd name="T75" fmla="*/ 18 h 129"/>
                <a:gd name="T76" fmla="*/ 40 w 131"/>
                <a:gd name="T77" fmla="*/ 5 h 129"/>
                <a:gd name="T78" fmla="*/ 65 w 131"/>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67" y="23"/>
                  </a:moveTo>
                  <a:lnTo>
                    <a:pt x="56" y="25"/>
                  </a:lnTo>
                  <a:lnTo>
                    <a:pt x="47" y="26"/>
                  </a:lnTo>
                  <a:lnTo>
                    <a:pt x="33" y="39"/>
                  </a:lnTo>
                  <a:lnTo>
                    <a:pt x="25" y="53"/>
                  </a:lnTo>
                  <a:lnTo>
                    <a:pt x="21" y="70"/>
                  </a:lnTo>
                  <a:lnTo>
                    <a:pt x="26" y="86"/>
                  </a:lnTo>
                  <a:lnTo>
                    <a:pt x="37" y="100"/>
                  </a:lnTo>
                  <a:lnTo>
                    <a:pt x="49" y="108"/>
                  </a:lnTo>
                  <a:lnTo>
                    <a:pt x="67" y="112"/>
                  </a:lnTo>
                  <a:lnTo>
                    <a:pt x="75" y="110"/>
                  </a:lnTo>
                  <a:lnTo>
                    <a:pt x="86" y="107"/>
                  </a:lnTo>
                  <a:lnTo>
                    <a:pt x="93" y="101"/>
                  </a:lnTo>
                  <a:lnTo>
                    <a:pt x="100" y="96"/>
                  </a:lnTo>
                  <a:lnTo>
                    <a:pt x="105" y="89"/>
                  </a:lnTo>
                  <a:lnTo>
                    <a:pt x="108" y="80"/>
                  </a:lnTo>
                  <a:lnTo>
                    <a:pt x="110" y="65"/>
                  </a:lnTo>
                  <a:lnTo>
                    <a:pt x="105" y="47"/>
                  </a:lnTo>
                  <a:lnTo>
                    <a:pt x="96" y="35"/>
                  </a:lnTo>
                  <a:lnTo>
                    <a:pt x="82" y="26"/>
                  </a:lnTo>
                  <a:lnTo>
                    <a:pt x="67" y="23"/>
                  </a:lnTo>
                  <a:close/>
                  <a:moveTo>
                    <a:pt x="65" y="0"/>
                  </a:moveTo>
                  <a:lnTo>
                    <a:pt x="86" y="4"/>
                  </a:lnTo>
                  <a:lnTo>
                    <a:pt x="103" y="12"/>
                  </a:lnTo>
                  <a:lnTo>
                    <a:pt x="119" y="26"/>
                  </a:lnTo>
                  <a:lnTo>
                    <a:pt x="128" y="44"/>
                  </a:lnTo>
                  <a:lnTo>
                    <a:pt x="131" y="65"/>
                  </a:lnTo>
                  <a:lnTo>
                    <a:pt x="126" y="89"/>
                  </a:lnTo>
                  <a:lnTo>
                    <a:pt x="112" y="110"/>
                  </a:lnTo>
                  <a:lnTo>
                    <a:pt x="91" y="124"/>
                  </a:lnTo>
                  <a:lnTo>
                    <a:pt x="65" y="129"/>
                  </a:lnTo>
                  <a:lnTo>
                    <a:pt x="44" y="126"/>
                  </a:lnTo>
                  <a:lnTo>
                    <a:pt x="26" y="117"/>
                  </a:lnTo>
                  <a:lnTo>
                    <a:pt x="12" y="103"/>
                  </a:lnTo>
                  <a:lnTo>
                    <a:pt x="4" y="86"/>
                  </a:lnTo>
                  <a:lnTo>
                    <a:pt x="0" y="65"/>
                  </a:lnTo>
                  <a:lnTo>
                    <a:pt x="5" y="39"/>
                  </a:lnTo>
                  <a:lnTo>
                    <a:pt x="19" y="18"/>
                  </a:lnTo>
                  <a:lnTo>
                    <a:pt x="40" y="5"/>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49" name="Freeform 461"/>
            <p:cNvSpPr>
              <a:spLocks/>
            </p:cNvSpPr>
            <p:nvPr/>
          </p:nvSpPr>
          <p:spPr bwMode="auto">
            <a:xfrm>
              <a:off x="8747125" y="1578507"/>
              <a:ext cx="84138" cy="84138"/>
            </a:xfrm>
            <a:custGeom>
              <a:avLst/>
              <a:gdLst>
                <a:gd name="T0" fmla="*/ 30 w 53"/>
                <a:gd name="T1" fmla="*/ 0 h 53"/>
                <a:gd name="T2" fmla="*/ 42 w 53"/>
                <a:gd name="T3" fmla="*/ 6 h 53"/>
                <a:gd name="T4" fmla="*/ 51 w 53"/>
                <a:gd name="T5" fmla="*/ 18 h 53"/>
                <a:gd name="T6" fmla="*/ 53 w 53"/>
                <a:gd name="T7" fmla="*/ 30 h 53"/>
                <a:gd name="T8" fmla="*/ 47 w 53"/>
                <a:gd name="T9" fmla="*/ 44 h 53"/>
                <a:gd name="T10" fmla="*/ 37 w 53"/>
                <a:gd name="T11" fmla="*/ 53 h 53"/>
                <a:gd name="T12" fmla="*/ 23 w 53"/>
                <a:gd name="T13" fmla="*/ 53 h 53"/>
                <a:gd name="T14" fmla="*/ 11 w 53"/>
                <a:gd name="T15" fmla="*/ 47 h 53"/>
                <a:gd name="T16" fmla="*/ 2 w 53"/>
                <a:gd name="T17" fmla="*/ 37 h 53"/>
                <a:gd name="T18" fmla="*/ 0 w 53"/>
                <a:gd name="T19" fmla="*/ 32 h 53"/>
                <a:gd name="T20" fmla="*/ 0 w 53"/>
                <a:gd name="T21" fmla="*/ 28 h 53"/>
                <a:gd name="T22" fmla="*/ 0 w 53"/>
                <a:gd name="T23" fmla="*/ 28 h 53"/>
                <a:gd name="T24" fmla="*/ 0 w 53"/>
                <a:gd name="T25" fmla="*/ 27 h 53"/>
                <a:gd name="T26" fmla="*/ 0 w 53"/>
                <a:gd name="T27" fmla="*/ 27 h 53"/>
                <a:gd name="T28" fmla="*/ 0 w 53"/>
                <a:gd name="T29" fmla="*/ 27 h 53"/>
                <a:gd name="T30" fmla="*/ 0 w 53"/>
                <a:gd name="T31" fmla="*/ 27 h 53"/>
                <a:gd name="T32" fmla="*/ 0 w 53"/>
                <a:gd name="T33" fmla="*/ 27 h 53"/>
                <a:gd name="T34" fmla="*/ 0 w 53"/>
                <a:gd name="T35" fmla="*/ 27 h 53"/>
                <a:gd name="T36" fmla="*/ 0 w 53"/>
                <a:gd name="T37" fmla="*/ 25 h 53"/>
                <a:gd name="T38" fmla="*/ 2 w 53"/>
                <a:gd name="T39" fmla="*/ 25 h 53"/>
                <a:gd name="T40" fmla="*/ 4 w 53"/>
                <a:gd name="T41" fmla="*/ 27 h 53"/>
                <a:gd name="T42" fmla="*/ 7 w 53"/>
                <a:gd name="T43" fmla="*/ 28 h 53"/>
                <a:gd name="T44" fmla="*/ 11 w 53"/>
                <a:gd name="T45" fmla="*/ 28 h 53"/>
                <a:gd name="T46" fmla="*/ 16 w 53"/>
                <a:gd name="T47" fmla="*/ 28 h 53"/>
                <a:gd name="T48" fmla="*/ 20 w 53"/>
                <a:gd name="T49" fmla="*/ 25 h 53"/>
                <a:gd name="T50" fmla="*/ 23 w 53"/>
                <a:gd name="T51" fmla="*/ 21 h 53"/>
                <a:gd name="T52" fmla="*/ 23 w 53"/>
                <a:gd name="T53" fmla="*/ 18 h 53"/>
                <a:gd name="T54" fmla="*/ 23 w 53"/>
                <a:gd name="T55" fmla="*/ 13 h 53"/>
                <a:gd name="T56" fmla="*/ 21 w 53"/>
                <a:gd name="T57" fmla="*/ 11 h 53"/>
                <a:gd name="T58" fmla="*/ 20 w 53"/>
                <a:gd name="T59" fmla="*/ 7 h 53"/>
                <a:gd name="T60" fmla="*/ 16 w 53"/>
                <a:gd name="T61" fmla="*/ 6 h 53"/>
                <a:gd name="T62" fmla="*/ 16 w 53"/>
                <a:gd name="T63" fmla="*/ 6 h 53"/>
                <a:gd name="T64" fmla="*/ 16 w 53"/>
                <a:gd name="T65" fmla="*/ 6 h 53"/>
                <a:gd name="T66" fmla="*/ 16 w 53"/>
                <a:gd name="T67" fmla="*/ 4 h 53"/>
                <a:gd name="T68" fmla="*/ 16 w 53"/>
                <a:gd name="T69" fmla="*/ 2 h 53"/>
                <a:gd name="T70" fmla="*/ 16 w 53"/>
                <a:gd name="T71" fmla="*/ 2 h 53"/>
                <a:gd name="T72" fmla="*/ 16 w 53"/>
                <a:gd name="T73" fmla="*/ 2 h 53"/>
                <a:gd name="T74" fmla="*/ 30 w 53"/>
                <a:gd name="T7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3">
                  <a:moveTo>
                    <a:pt x="30" y="0"/>
                  </a:moveTo>
                  <a:lnTo>
                    <a:pt x="42" y="6"/>
                  </a:lnTo>
                  <a:lnTo>
                    <a:pt x="51" y="18"/>
                  </a:lnTo>
                  <a:lnTo>
                    <a:pt x="53" y="30"/>
                  </a:lnTo>
                  <a:lnTo>
                    <a:pt x="47" y="44"/>
                  </a:lnTo>
                  <a:lnTo>
                    <a:pt x="37" y="53"/>
                  </a:lnTo>
                  <a:lnTo>
                    <a:pt x="23" y="53"/>
                  </a:lnTo>
                  <a:lnTo>
                    <a:pt x="11" y="47"/>
                  </a:lnTo>
                  <a:lnTo>
                    <a:pt x="2" y="37"/>
                  </a:lnTo>
                  <a:lnTo>
                    <a:pt x="0" y="32"/>
                  </a:lnTo>
                  <a:lnTo>
                    <a:pt x="0" y="28"/>
                  </a:lnTo>
                  <a:lnTo>
                    <a:pt x="0" y="28"/>
                  </a:lnTo>
                  <a:lnTo>
                    <a:pt x="0" y="27"/>
                  </a:lnTo>
                  <a:lnTo>
                    <a:pt x="0" y="27"/>
                  </a:lnTo>
                  <a:lnTo>
                    <a:pt x="0" y="27"/>
                  </a:lnTo>
                  <a:lnTo>
                    <a:pt x="0" y="27"/>
                  </a:lnTo>
                  <a:lnTo>
                    <a:pt x="0" y="27"/>
                  </a:lnTo>
                  <a:lnTo>
                    <a:pt x="0" y="27"/>
                  </a:lnTo>
                  <a:lnTo>
                    <a:pt x="0" y="25"/>
                  </a:lnTo>
                  <a:lnTo>
                    <a:pt x="2" y="25"/>
                  </a:lnTo>
                  <a:lnTo>
                    <a:pt x="4" y="27"/>
                  </a:lnTo>
                  <a:lnTo>
                    <a:pt x="7" y="28"/>
                  </a:lnTo>
                  <a:lnTo>
                    <a:pt x="11" y="28"/>
                  </a:lnTo>
                  <a:lnTo>
                    <a:pt x="16" y="28"/>
                  </a:lnTo>
                  <a:lnTo>
                    <a:pt x="20" y="25"/>
                  </a:lnTo>
                  <a:lnTo>
                    <a:pt x="23" y="21"/>
                  </a:lnTo>
                  <a:lnTo>
                    <a:pt x="23" y="18"/>
                  </a:lnTo>
                  <a:lnTo>
                    <a:pt x="23" y="13"/>
                  </a:lnTo>
                  <a:lnTo>
                    <a:pt x="21" y="11"/>
                  </a:lnTo>
                  <a:lnTo>
                    <a:pt x="20" y="7"/>
                  </a:lnTo>
                  <a:lnTo>
                    <a:pt x="16" y="6"/>
                  </a:lnTo>
                  <a:lnTo>
                    <a:pt x="16" y="6"/>
                  </a:lnTo>
                  <a:lnTo>
                    <a:pt x="16" y="6"/>
                  </a:lnTo>
                  <a:lnTo>
                    <a:pt x="16" y="4"/>
                  </a:lnTo>
                  <a:lnTo>
                    <a:pt x="16" y="2"/>
                  </a:lnTo>
                  <a:lnTo>
                    <a:pt x="16" y="2"/>
                  </a:lnTo>
                  <a:lnTo>
                    <a:pt x="16" y="2"/>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50" name="Freeform 462"/>
            <p:cNvSpPr>
              <a:spLocks noEditPoints="1"/>
            </p:cNvSpPr>
            <p:nvPr/>
          </p:nvSpPr>
          <p:spPr bwMode="auto">
            <a:xfrm>
              <a:off x="8110538" y="1515007"/>
              <a:ext cx="207963" cy="204788"/>
            </a:xfrm>
            <a:custGeom>
              <a:avLst/>
              <a:gdLst>
                <a:gd name="T0" fmla="*/ 66 w 131"/>
                <a:gd name="T1" fmla="*/ 23 h 129"/>
                <a:gd name="T2" fmla="*/ 56 w 131"/>
                <a:gd name="T3" fmla="*/ 25 h 129"/>
                <a:gd name="T4" fmla="*/ 47 w 131"/>
                <a:gd name="T5" fmla="*/ 26 h 129"/>
                <a:gd name="T6" fmla="*/ 33 w 131"/>
                <a:gd name="T7" fmla="*/ 39 h 129"/>
                <a:gd name="T8" fmla="*/ 24 w 131"/>
                <a:gd name="T9" fmla="*/ 53 h 129"/>
                <a:gd name="T10" fmla="*/ 21 w 131"/>
                <a:gd name="T11" fmla="*/ 70 h 129"/>
                <a:gd name="T12" fmla="*/ 26 w 131"/>
                <a:gd name="T13" fmla="*/ 86 h 129"/>
                <a:gd name="T14" fmla="*/ 35 w 131"/>
                <a:gd name="T15" fmla="*/ 100 h 129"/>
                <a:gd name="T16" fmla="*/ 49 w 131"/>
                <a:gd name="T17" fmla="*/ 108 h 129"/>
                <a:gd name="T18" fmla="*/ 66 w 131"/>
                <a:gd name="T19" fmla="*/ 112 h 129"/>
                <a:gd name="T20" fmla="*/ 75 w 131"/>
                <a:gd name="T21" fmla="*/ 110 h 129"/>
                <a:gd name="T22" fmla="*/ 85 w 131"/>
                <a:gd name="T23" fmla="*/ 107 h 129"/>
                <a:gd name="T24" fmla="*/ 92 w 131"/>
                <a:gd name="T25" fmla="*/ 101 h 129"/>
                <a:gd name="T26" fmla="*/ 99 w 131"/>
                <a:gd name="T27" fmla="*/ 96 h 129"/>
                <a:gd name="T28" fmla="*/ 103 w 131"/>
                <a:gd name="T29" fmla="*/ 89 h 129"/>
                <a:gd name="T30" fmla="*/ 106 w 131"/>
                <a:gd name="T31" fmla="*/ 80 h 129"/>
                <a:gd name="T32" fmla="*/ 110 w 131"/>
                <a:gd name="T33" fmla="*/ 65 h 129"/>
                <a:gd name="T34" fmla="*/ 105 w 131"/>
                <a:gd name="T35" fmla="*/ 47 h 129"/>
                <a:gd name="T36" fmla="*/ 96 w 131"/>
                <a:gd name="T37" fmla="*/ 35 h 129"/>
                <a:gd name="T38" fmla="*/ 82 w 131"/>
                <a:gd name="T39" fmla="*/ 26 h 129"/>
                <a:gd name="T40" fmla="*/ 66 w 131"/>
                <a:gd name="T41" fmla="*/ 23 h 129"/>
                <a:gd name="T42" fmla="*/ 64 w 131"/>
                <a:gd name="T43" fmla="*/ 0 h 129"/>
                <a:gd name="T44" fmla="*/ 85 w 131"/>
                <a:gd name="T45" fmla="*/ 4 h 129"/>
                <a:gd name="T46" fmla="*/ 103 w 131"/>
                <a:gd name="T47" fmla="*/ 12 h 129"/>
                <a:gd name="T48" fmla="*/ 118 w 131"/>
                <a:gd name="T49" fmla="*/ 26 h 129"/>
                <a:gd name="T50" fmla="*/ 127 w 131"/>
                <a:gd name="T51" fmla="*/ 44 h 129"/>
                <a:gd name="T52" fmla="*/ 131 w 131"/>
                <a:gd name="T53" fmla="*/ 65 h 129"/>
                <a:gd name="T54" fmla="*/ 125 w 131"/>
                <a:gd name="T55" fmla="*/ 89 h 129"/>
                <a:gd name="T56" fmla="*/ 111 w 131"/>
                <a:gd name="T57" fmla="*/ 110 h 129"/>
                <a:gd name="T58" fmla="*/ 91 w 131"/>
                <a:gd name="T59" fmla="*/ 124 h 129"/>
                <a:gd name="T60" fmla="*/ 64 w 131"/>
                <a:gd name="T61" fmla="*/ 129 h 129"/>
                <a:gd name="T62" fmla="*/ 43 w 131"/>
                <a:gd name="T63" fmla="*/ 126 h 129"/>
                <a:gd name="T64" fmla="*/ 26 w 131"/>
                <a:gd name="T65" fmla="*/ 117 h 129"/>
                <a:gd name="T66" fmla="*/ 12 w 131"/>
                <a:gd name="T67" fmla="*/ 103 h 129"/>
                <a:gd name="T68" fmla="*/ 3 w 131"/>
                <a:gd name="T69" fmla="*/ 86 h 129"/>
                <a:gd name="T70" fmla="*/ 0 w 131"/>
                <a:gd name="T71" fmla="*/ 65 h 129"/>
                <a:gd name="T72" fmla="*/ 5 w 131"/>
                <a:gd name="T73" fmla="*/ 39 h 129"/>
                <a:gd name="T74" fmla="*/ 19 w 131"/>
                <a:gd name="T75" fmla="*/ 18 h 129"/>
                <a:gd name="T76" fmla="*/ 40 w 131"/>
                <a:gd name="T77" fmla="*/ 5 h 129"/>
                <a:gd name="T78" fmla="*/ 64 w 131"/>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66" y="23"/>
                  </a:moveTo>
                  <a:lnTo>
                    <a:pt x="56" y="25"/>
                  </a:lnTo>
                  <a:lnTo>
                    <a:pt x="47" y="26"/>
                  </a:lnTo>
                  <a:lnTo>
                    <a:pt x="33" y="39"/>
                  </a:lnTo>
                  <a:lnTo>
                    <a:pt x="24" y="53"/>
                  </a:lnTo>
                  <a:lnTo>
                    <a:pt x="21" y="70"/>
                  </a:lnTo>
                  <a:lnTo>
                    <a:pt x="26" y="86"/>
                  </a:lnTo>
                  <a:lnTo>
                    <a:pt x="35" y="100"/>
                  </a:lnTo>
                  <a:lnTo>
                    <a:pt x="49" y="108"/>
                  </a:lnTo>
                  <a:lnTo>
                    <a:pt x="66" y="112"/>
                  </a:lnTo>
                  <a:lnTo>
                    <a:pt x="75" y="110"/>
                  </a:lnTo>
                  <a:lnTo>
                    <a:pt x="85" y="107"/>
                  </a:lnTo>
                  <a:lnTo>
                    <a:pt x="92" y="101"/>
                  </a:lnTo>
                  <a:lnTo>
                    <a:pt x="99" y="96"/>
                  </a:lnTo>
                  <a:lnTo>
                    <a:pt x="103" y="89"/>
                  </a:lnTo>
                  <a:lnTo>
                    <a:pt x="106" y="80"/>
                  </a:lnTo>
                  <a:lnTo>
                    <a:pt x="110" y="65"/>
                  </a:lnTo>
                  <a:lnTo>
                    <a:pt x="105" y="47"/>
                  </a:lnTo>
                  <a:lnTo>
                    <a:pt x="96" y="35"/>
                  </a:lnTo>
                  <a:lnTo>
                    <a:pt x="82" y="26"/>
                  </a:lnTo>
                  <a:lnTo>
                    <a:pt x="66" y="23"/>
                  </a:lnTo>
                  <a:close/>
                  <a:moveTo>
                    <a:pt x="64" y="0"/>
                  </a:moveTo>
                  <a:lnTo>
                    <a:pt x="85" y="4"/>
                  </a:lnTo>
                  <a:lnTo>
                    <a:pt x="103" y="12"/>
                  </a:lnTo>
                  <a:lnTo>
                    <a:pt x="118" y="26"/>
                  </a:lnTo>
                  <a:lnTo>
                    <a:pt x="127" y="44"/>
                  </a:lnTo>
                  <a:lnTo>
                    <a:pt x="131" y="65"/>
                  </a:lnTo>
                  <a:lnTo>
                    <a:pt x="125" y="89"/>
                  </a:lnTo>
                  <a:lnTo>
                    <a:pt x="111" y="110"/>
                  </a:lnTo>
                  <a:lnTo>
                    <a:pt x="91" y="124"/>
                  </a:lnTo>
                  <a:lnTo>
                    <a:pt x="64" y="129"/>
                  </a:lnTo>
                  <a:lnTo>
                    <a:pt x="43" y="126"/>
                  </a:lnTo>
                  <a:lnTo>
                    <a:pt x="26" y="117"/>
                  </a:lnTo>
                  <a:lnTo>
                    <a:pt x="12" y="103"/>
                  </a:lnTo>
                  <a:lnTo>
                    <a:pt x="3" y="86"/>
                  </a:lnTo>
                  <a:lnTo>
                    <a:pt x="0" y="65"/>
                  </a:lnTo>
                  <a:lnTo>
                    <a:pt x="5" y="39"/>
                  </a:lnTo>
                  <a:lnTo>
                    <a:pt x="19" y="18"/>
                  </a:lnTo>
                  <a:lnTo>
                    <a:pt x="40" y="5"/>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51" name="Freeform 463"/>
            <p:cNvSpPr>
              <a:spLocks/>
            </p:cNvSpPr>
            <p:nvPr/>
          </p:nvSpPr>
          <p:spPr bwMode="auto">
            <a:xfrm>
              <a:off x="8170863" y="1578507"/>
              <a:ext cx="85725" cy="84138"/>
            </a:xfrm>
            <a:custGeom>
              <a:avLst/>
              <a:gdLst>
                <a:gd name="T0" fmla="*/ 32 w 54"/>
                <a:gd name="T1" fmla="*/ 0 h 53"/>
                <a:gd name="T2" fmla="*/ 44 w 54"/>
                <a:gd name="T3" fmla="*/ 6 h 53"/>
                <a:gd name="T4" fmla="*/ 53 w 54"/>
                <a:gd name="T5" fmla="*/ 18 h 53"/>
                <a:gd name="T6" fmla="*/ 54 w 54"/>
                <a:gd name="T7" fmla="*/ 30 h 53"/>
                <a:gd name="T8" fmla="*/ 49 w 54"/>
                <a:gd name="T9" fmla="*/ 44 h 53"/>
                <a:gd name="T10" fmla="*/ 39 w 54"/>
                <a:gd name="T11" fmla="*/ 53 h 53"/>
                <a:gd name="T12" fmla="*/ 25 w 54"/>
                <a:gd name="T13" fmla="*/ 53 h 53"/>
                <a:gd name="T14" fmla="*/ 11 w 54"/>
                <a:gd name="T15" fmla="*/ 47 h 53"/>
                <a:gd name="T16" fmla="*/ 4 w 54"/>
                <a:gd name="T17" fmla="*/ 37 h 53"/>
                <a:gd name="T18" fmla="*/ 2 w 54"/>
                <a:gd name="T19" fmla="*/ 32 h 53"/>
                <a:gd name="T20" fmla="*/ 0 w 54"/>
                <a:gd name="T21" fmla="*/ 28 h 53"/>
                <a:gd name="T22" fmla="*/ 0 w 54"/>
                <a:gd name="T23" fmla="*/ 28 h 53"/>
                <a:gd name="T24" fmla="*/ 2 w 54"/>
                <a:gd name="T25" fmla="*/ 27 h 53"/>
                <a:gd name="T26" fmla="*/ 2 w 54"/>
                <a:gd name="T27" fmla="*/ 27 h 53"/>
                <a:gd name="T28" fmla="*/ 2 w 54"/>
                <a:gd name="T29" fmla="*/ 27 h 53"/>
                <a:gd name="T30" fmla="*/ 2 w 54"/>
                <a:gd name="T31" fmla="*/ 27 h 53"/>
                <a:gd name="T32" fmla="*/ 2 w 54"/>
                <a:gd name="T33" fmla="*/ 27 h 53"/>
                <a:gd name="T34" fmla="*/ 2 w 54"/>
                <a:gd name="T35" fmla="*/ 27 h 53"/>
                <a:gd name="T36" fmla="*/ 2 w 54"/>
                <a:gd name="T37" fmla="*/ 25 h 53"/>
                <a:gd name="T38" fmla="*/ 4 w 54"/>
                <a:gd name="T39" fmla="*/ 25 h 53"/>
                <a:gd name="T40" fmla="*/ 5 w 54"/>
                <a:gd name="T41" fmla="*/ 27 h 53"/>
                <a:gd name="T42" fmla="*/ 9 w 54"/>
                <a:gd name="T43" fmla="*/ 28 h 53"/>
                <a:gd name="T44" fmla="*/ 12 w 54"/>
                <a:gd name="T45" fmla="*/ 28 h 53"/>
                <a:gd name="T46" fmla="*/ 18 w 54"/>
                <a:gd name="T47" fmla="*/ 28 h 53"/>
                <a:gd name="T48" fmla="*/ 21 w 54"/>
                <a:gd name="T49" fmla="*/ 25 h 53"/>
                <a:gd name="T50" fmla="*/ 25 w 54"/>
                <a:gd name="T51" fmla="*/ 21 h 53"/>
                <a:gd name="T52" fmla="*/ 25 w 54"/>
                <a:gd name="T53" fmla="*/ 18 h 53"/>
                <a:gd name="T54" fmla="*/ 25 w 54"/>
                <a:gd name="T55" fmla="*/ 13 h 53"/>
                <a:gd name="T56" fmla="*/ 23 w 54"/>
                <a:gd name="T57" fmla="*/ 11 h 53"/>
                <a:gd name="T58" fmla="*/ 21 w 54"/>
                <a:gd name="T59" fmla="*/ 7 h 53"/>
                <a:gd name="T60" fmla="*/ 18 w 54"/>
                <a:gd name="T61" fmla="*/ 6 h 53"/>
                <a:gd name="T62" fmla="*/ 18 w 54"/>
                <a:gd name="T63" fmla="*/ 6 h 53"/>
                <a:gd name="T64" fmla="*/ 18 w 54"/>
                <a:gd name="T65" fmla="*/ 6 h 53"/>
                <a:gd name="T66" fmla="*/ 18 w 54"/>
                <a:gd name="T67" fmla="*/ 4 h 53"/>
                <a:gd name="T68" fmla="*/ 18 w 54"/>
                <a:gd name="T69" fmla="*/ 2 h 53"/>
                <a:gd name="T70" fmla="*/ 18 w 54"/>
                <a:gd name="T71" fmla="*/ 2 h 53"/>
                <a:gd name="T72" fmla="*/ 18 w 54"/>
                <a:gd name="T73" fmla="*/ 2 h 53"/>
                <a:gd name="T74" fmla="*/ 32 w 54"/>
                <a:gd name="T7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3">
                  <a:moveTo>
                    <a:pt x="32" y="0"/>
                  </a:moveTo>
                  <a:lnTo>
                    <a:pt x="44" y="6"/>
                  </a:lnTo>
                  <a:lnTo>
                    <a:pt x="53" y="18"/>
                  </a:lnTo>
                  <a:lnTo>
                    <a:pt x="54" y="30"/>
                  </a:lnTo>
                  <a:lnTo>
                    <a:pt x="49" y="44"/>
                  </a:lnTo>
                  <a:lnTo>
                    <a:pt x="39" y="53"/>
                  </a:lnTo>
                  <a:lnTo>
                    <a:pt x="25" y="53"/>
                  </a:lnTo>
                  <a:lnTo>
                    <a:pt x="11" y="47"/>
                  </a:lnTo>
                  <a:lnTo>
                    <a:pt x="4" y="37"/>
                  </a:lnTo>
                  <a:lnTo>
                    <a:pt x="2" y="32"/>
                  </a:lnTo>
                  <a:lnTo>
                    <a:pt x="0" y="28"/>
                  </a:lnTo>
                  <a:lnTo>
                    <a:pt x="0" y="28"/>
                  </a:lnTo>
                  <a:lnTo>
                    <a:pt x="2" y="27"/>
                  </a:lnTo>
                  <a:lnTo>
                    <a:pt x="2" y="27"/>
                  </a:lnTo>
                  <a:lnTo>
                    <a:pt x="2" y="27"/>
                  </a:lnTo>
                  <a:lnTo>
                    <a:pt x="2" y="27"/>
                  </a:lnTo>
                  <a:lnTo>
                    <a:pt x="2" y="27"/>
                  </a:lnTo>
                  <a:lnTo>
                    <a:pt x="2" y="27"/>
                  </a:lnTo>
                  <a:lnTo>
                    <a:pt x="2" y="25"/>
                  </a:lnTo>
                  <a:lnTo>
                    <a:pt x="4" y="25"/>
                  </a:lnTo>
                  <a:lnTo>
                    <a:pt x="5" y="27"/>
                  </a:lnTo>
                  <a:lnTo>
                    <a:pt x="9" y="28"/>
                  </a:lnTo>
                  <a:lnTo>
                    <a:pt x="12" y="28"/>
                  </a:lnTo>
                  <a:lnTo>
                    <a:pt x="18" y="28"/>
                  </a:lnTo>
                  <a:lnTo>
                    <a:pt x="21" y="25"/>
                  </a:lnTo>
                  <a:lnTo>
                    <a:pt x="25" y="21"/>
                  </a:lnTo>
                  <a:lnTo>
                    <a:pt x="25" y="18"/>
                  </a:lnTo>
                  <a:lnTo>
                    <a:pt x="25" y="13"/>
                  </a:lnTo>
                  <a:lnTo>
                    <a:pt x="23" y="11"/>
                  </a:lnTo>
                  <a:lnTo>
                    <a:pt x="21" y="7"/>
                  </a:lnTo>
                  <a:lnTo>
                    <a:pt x="18" y="6"/>
                  </a:lnTo>
                  <a:lnTo>
                    <a:pt x="18" y="6"/>
                  </a:lnTo>
                  <a:lnTo>
                    <a:pt x="18" y="6"/>
                  </a:lnTo>
                  <a:lnTo>
                    <a:pt x="18" y="4"/>
                  </a:lnTo>
                  <a:lnTo>
                    <a:pt x="18" y="2"/>
                  </a:lnTo>
                  <a:lnTo>
                    <a:pt x="18" y="2"/>
                  </a:lnTo>
                  <a:lnTo>
                    <a:pt x="18" y="2"/>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grpSp>
      <p:sp>
        <p:nvSpPr>
          <p:cNvPr id="52" name="Freeform 220"/>
          <p:cNvSpPr>
            <a:spLocks noChangeAspect="1" noEditPoints="1"/>
          </p:cNvSpPr>
          <p:nvPr/>
        </p:nvSpPr>
        <p:spPr bwMode="auto">
          <a:xfrm>
            <a:off x="8630711" y="900958"/>
            <a:ext cx="185873" cy="157381"/>
          </a:xfrm>
          <a:custGeom>
            <a:avLst/>
            <a:gdLst>
              <a:gd name="T0" fmla="*/ 382 w 548"/>
              <a:gd name="T1" fmla="*/ 57 h 464"/>
              <a:gd name="T2" fmla="*/ 348 w 548"/>
              <a:gd name="T3" fmla="*/ 68 h 464"/>
              <a:gd name="T4" fmla="*/ 346 w 548"/>
              <a:gd name="T5" fmla="*/ 77 h 464"/>
              <a:gd name="T6" fmla="*/ 351 w 548"/>
              <a:gd name="T7" fmla="*/ 82 h 464"/>
              <a:gd name="T8" fmla="*/ 381 w 548"/>
              <a:gd name="T9" fmla="*/ 91 h 464"/>
              <a:gd name="T10" fmla="*/ 428 w 548"/>
              <a:gd name="T11" fmla="*/ 120 h 464"/>
              <a:gd name="T12" fmla="*/ 461 w 548"/>
              <a:gd name="T13" fmla="*/ 166 h 464"/>
              <a:gd name="T14" fmla="*/ 472 w 548"/>
              <a:gd name="T15" fmla="*/ 194 h 464"/>
              <a:gd name="T16" fmla="*/ 479 w 548"/>
              <a:gd name="T17" fmla="*/ 199 h 464"/>
              <a:gd name="T18" fmla="*/ 484 w 548"/>
              <a:gd name="T19" fmla="*/ 197 h 464"/>
              <a:gd name="T20" fmla="*/ 489 w 548"/>
              <a:gd name="T21" fmla="*/ 192 h 464"/>
              <a:gd name="T22" fmla="*/ 494 w 548"/>
              <a:gd name="T23" fmla="*/ 148 h 464"/>
              <a:gd name="T24" fmla="*/ 470 w 548"/>
              <a:gd name="T25" fmla="*/ 92 h 464"/>
              <a:gd name="T26" fmla="*/ 423 w 548"/>
              <a:gd name="T27" fmla="*/ 61 h 464"/>
              <a:gd name="T28" fmla="*/ 150 w 548"/>
              <a:gd name="T29" fmla="*/ 0 h 464"/>
              <a:gd name="T30" fmla="*/ 218 w 548"/>
              <a:gd name="T31" fmla="*/ 17 h 464"/>
              <a:gd name="T32" fmla="*/ 267 w 548"/>
              <a:gd name="T33" fmla="*/ 64 h 464"/>
              <a:gd name="T34" fmla="*/ 274 w 548"/>
              <a:gd name="T35" fmla="*/ 68 h 464"/>
              <a:gd name="T36" fmla="*/ 281 w 548"/>
              <a:gd name="T37" fmla="*/ 64 h 464"/>
              <a:gd name="T38" fmla="*/ 302 w 548"/>
              <a:gd name="T39" fmla="*/ 38 h 464"/>
              <a:gd name="T40" fmla="*/ 362 w 548"/>
              <a:gd name="T41" fmla="*/ 5 h 464"/>
              <a:gd name="T42" fmla="*/ 433 w 548"/>
              <a:gd name="T43" fmla="*/ 5 h 464"/>
              <a:gd name="T44" fmla="*/ 496 w 548"/>
              <a:gd name="T45" fmla="*/ 36 h 464"/>
              <a:gd name="T46" fmla="*/ 534 w 548"/>
              <a:gd name="T47" fmla="*/ 84 h 464"/>
              <a:gd name="T48" fmla="*/ 548 w 548"/>
              <a:gd name="T49" fmla="*/ 134 h 464"/>
              <a:gd name="T50" fmla="*/ 547 w 548"/>
              <a:gd name="T51" fmla="*/ 168 h 464"/>
              <a:gd name="T52" fmla="*/ 538 w 548"/>
              <a:gd name="T53" fmla="*/ 201 h 464"/>
              <a:gd name="T54" fmla="*/ 513 w 548"/>
              <a:gd name="T55" fmla="*/ 248 h 464"/>
              <a:gd name="T56" fmla="*/ 468 w 548"/>
              <a:gd name="T57" fmla="*/ 309 h 464"/>
              <a:gd name="T58" fmla="*/ 391 w 548"/>
              <a:gd name="T59" fmla="*/ 381 h 464"/>
              <a:gd name="T60" fmla="*/ 278 w 548"/>
              <a:gd name="T61" fmla="*/ 463 h 464"/>
              <a:gd name="T62" fmla="*/ 276 w 548"/>
              <a:gd name="T63" fmla="*/ 463 h 464"/>
              <a:gd name="T64" fmla="*/ 271 w 548"/>
              <a:gd name="T65" fmla="*/ 463 h 464"/>
              <a:gd name="T66" fmla="*/ 269 w 548"/>
              <a:gd name="T67" fmla="*/ 463 h 464"/>
              <a:gd name="T68" fmla="*/ 156 w 548"/>
              <a:gd name="T69" fmla="*/ 381 h 464"/>
              <a:gd name="T70" fmla="*/ 79 w 548"/>
              <a:gd name="T71" fmla="*/ 309 h 464"/>
              <a:gd name="T72" fmla="*/ 33 w 548"/>
              <a:gd name="T73" fmla="*/ 248 h 464"/>
              <a:gd name="T74" fmla="*/ 11 w 548"/>
              <a:gd name="T75" fmla="*/ 199 h 464"/>
              <a:gd name="T76" fmla="*/ 2 w 548"/>
              <a:gd name="T77" fmla="*/ 166 h 464"/>
              <a:gd name="T78" fmla="*/ 0 w 548"/>
              <a:gd name="T79" fmla="*/ 134 h 464"/>
              <a:gd name="T80" fmla="*/ 14 w 548"/>
              <a:gd name="T81" fmla="*/ 84 h 464"/>
              <a:gd name="T82" fmla="*/ 52 w 548"/>
              <a:gd name="T83" fmla="*/ 36 h 464"/>
              <a:gd name="T84" fmla="*/ 115 w 548"/>
              <a:gd name="T85" fmla="*/ 5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8" h="464">
                <a:moveTo>
                  <a:pt x="393" y="57"/>
                </a:moveTo>
                <a:lnTo>
                  <a:pt x="382" y="57"/>
                </a:lnTo>
                <a:lnTo>
                  <a:pt x="351" y="64"/>
                </a:lnTo>
                <a:lnTo>
                  <a:pt x="348" y="68"/>
                </a:lnTo>
                <a:lnTo>
                  <a:pt x="346" y="71"/>
                </a:lnTo>
                <a:lnTo>
                  <a:pt x="346" y="77"/>
                </a:lnTo>
                <a:lnTo>
                  <a:pt x="348" y="80"/>
                </a:lnTo>
                <a:lnTo>
                  <a:pt x="351" y="82"/>
                </a:lnTo>
                <a:lnTo>
                  <a:pt x="355" y="84"/>
                </a:lnTo>
                <a:lnTo>
                  <a:pt x="381" y="91"/>
                </a:lnTo>
                <a:lnTo>
                  <a:pt x="405" y="103"/>
                </a:lnTo>
                <a:lnTo>
                  <a:pt x="428" y="120"/>
                </a:lnTo>
                <a:lnTo>
                  <a:pt x="447" y="141"/>
                </a:lnTo>
                <a:lnTo>
                  <a:pt x="461" y="166"/>
                </a:lnTo>
                <a:lnTo>
                  <a:pt x="470" y="190"/>
                </a:lnTo>
                <a:lnTo>
                  <a:pt x="472" y="194"/>
                </a:lnTo>
                <a:lnTo>
                  <a:pt x="473" y="197"/>
                </a:lnTo>
                <a:lnTo>
                  <a:pt x="479" y="199"/>
                </a:lnTo>
                <a:lnTo>
                  <a:pt x="479" y="199"/>
                </a:lnTo>
                <a:lnTo>
                  <a:pt x="484" y="197"/>
                </a:lnTo>
                <a:lnTo>
                  <a:pt x="486" y="195"/>
                </a:lnTo>
                <a:lnTo>
                  <a:pt x="489" y="192"/>
                </a:lnTo>
                <a:lnTo>
                  <a:pt x="494" y="169"/>
                </a:lnTo>
                <a:lnTo>
                  <a:pt x="494" y="148"/>
                </a:lnTo>
                <a:lnTo>
                  <a:pt x="486" y="119"/>
                </a:lnTo>
                <a:lnTo>
                  <a:pt x="470" y="92"/>
                </a:lnTo>
                <a:lnTo>
                  <a:pt x="449" y="73"/>
                </a:lnTo>
                <a:lnTo>
                  <a:pt x="423" y="61"/>
                </a:lnTo>
                <a:lnTo>
                  <a:pt x="393" y="57"/>
                </a:lnTo>
                <a:close/>
                <a:moveTo>
                  <a:pt x="150" y="0"/>
                </a:moveTo>
                <a:lnTo>
                  <a:pt x="187" y="5"/>
                </a:lnTo>
                <a:lnTo>
                  <a:pt x="218" y="17"/>
                </a:lnTo>
                <a:lnTo>
                  <a:pt x="246" y="38"/>
                </a:lnTo>
                <a:lnTo>
                  <a:pt x="267" y="64"/>
                </a:lnTo>
                <a:lnTo>
                  <a:pt x="269" y="68"/>
                </a:lnTo>
                <a:lnTo>
                  <a:pt x="274" y="68"/>
                </a:lnTo>
                <a:lnTo>
                  <a:pt x="278" y="68"/>
                </a:lnTo>
                <a:lnTo>
                  <a:pt x="281" y="64"/>
                </a:lnTo>
                <a:lnTo>
                  <a:pt x="281" y="64"/>
                </a:lnTo>
                <a:lnTo>
                  <a:pt x="302" y="38"/>
                </a:lnTo>
                <a:lnTo>
                  <a:pt x="330" y="17"/>
                </a:lnTo>
                <a:lnTo>
                  <a:pt x="362" y="5"/>
                </a:lnTo>
                <a:lnTo>
                  <a:pt x="396" y="0"/>
                </a:lnTo>
                <a:lnTo>
                  <a:pt x="433" y="5"/>
                </a:lnTo>
                <a:lnTo>
                  <a:pt x="468" y="19"/>
                </a:lnTo>
                <a:lnTo>
                  <a:pt x="496" y="36"/>
                </a:lnTo>
                <a:lnTo>
                  <a:pt x="517" y="57"/>
                </a:lnTo>
                <a:lnTo>
                  <a:pt x="534" y="84"/>
                </a:lnTo>
                <a:lnTo>
                  <a:pt x="545" y="112"/>
                </a:lnTo>
                <a:lnTo>
                  <a:pt x="548" y="134"/>
                </a:lnTo>
                <a:lnTo>
                  <a:pt x="547" y="157"/>
                </a:lnTo>
                <a:lnTo>
                  <a:pt x="547" y="168"/>
                </a:lnTo>
                <a:lnTo>
                  <a:pt x="543" y="181"/>
                </a:lnTo>
                <a:lnTo>
                  <a:pt x="538" y="201"/>
                </a:lnTo>
                <a:lnTo>
                  <a:pt x="527" y="223"/>
                </a:lnTo>
                <a:lnTo>
                  <a:pt x="513" y="248"/>
                </a:lnTo>
                <a:lnTo>
                  <a:pt x="494" y="278"/>
                </a:lnTo>
                <a:lnTo>
                  <a:pt x="468" y="309"/>
                </a:lnTo>
                <a:lnTo>
                  <a:pt x="435" y="344"/>
                </a:lnTo>
                <a:lnTo>
                  <a:pt x="391" y="381"/>
                </a:lnTo>
                <a:lnTo>
                  <a:pt x="341" y="421"/>
                </a:lnTo>
                <a:lnTo>
                  <a:pt x="278" y="463"/>
                </a:lnTo>
                <a:lnTo>
                  <a:pt x="279" y="463"/>
                </a:lnTo>
                <a:lnTo>
                  <a:pt x="276" y="463"/>
                </a:lnTo>
                <a:lnTo>
                  <a:pt x="274" y="464"/>
                </a:lnTo>
                <a:lnTo>
                  <a:pt x="271" y="463"/>
                </a:lnTo>
                <a:lnTo>
                  <a:pt x="269" y="463"/>
                </a:lnTo>
                <a:lnTo>
                  <a:pt x="269" y="463"/>
                </a:lnTo>
                <a:lnTo>
                  <a:pt x="208" y="421"/>
                </a:lnTo>
                <a:lnTo>
                  <a:pt x="156" y="381"/>
                </a:lnTo>
                <a:lnTo>
                  <a:pt x="114" y="344"/>
                </a:lnTo>
                <a:lnTo>
                  <a:pt x="79" y="309"/>
                </a:lnTo>
                <a:lnTo>
                  <a:pt x="52" y="276"/>
                </a:lnTo>
                <a:lnTo>
                  <a:pt x="33" y="248"/>
                </a:lnTo>
                <a:lnTo>
                  <a:pt x="19" y="222"/>
                </a:lnTo>
                <a:lnTo>
                  <a:pt x="11" y="199"/>
                </a:lnTo>
                <a:lnTo>
                  <a:pt x="4" y="180"/>
                </a:lnTo>
                <a:lnTo>
                  <a:pt x="2" y="166"/>
                </a:lnTo>
                <a:lnTo>
                  <a:pt x="0" y="155"/>
                </a:lnTo>
                <a:lnTo>
                  <a:pt x="0" y="134"/>
                </a:lnTo>
                <a:lnTo>
                  <a:pt x="4" y="112"/>
                </a:lnTo>
                <a:lnTo>
                  <a:pt x="14" y="84"/>
                </a:lnTo>
                <a:lnTo>
                  <a:pt x="30" y="57"/>
                </a:lnTo>
                <a:lnTo>
                  <a:pt x="52" y="36"/>
                </a:lnTo>
                <a:lnTo>
                  <a:pt x="80" y="19"/>
                </a:lnTo>
                <a:lnTo>
                  <a:pt x="115" y="5"/>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grpSp>
        <p:nvGrpSpPr>
          <p:cNvPr id="53" name="Group 52"/>
          <p:cNvGrpSpPr>
            <a:grpSpLocks noChangeAspect="1"/>
          </p:cNvGrpSpPr>
          <p:nvPr/>
        </p:nvGrpSpPr>
        <p:grpSpPr>
          <a:xfrm>
            <a:off x="5946035" y="4914583"/>
            <a:ext cx="221019" cy="221421"/>
            <a:chOff x="8018463" y="2751931"/>
            <a:chExt cx="873125" cy="874713"/>
          </a:xfrm>
          <a:solidFill>
            <a:schemeClr val="tx1"/>
          </a:solidFill>
        </p:grpSpPr>
        <p:sp>
          <p:nvSpPr>
            <p:cNvPr id="54" name="Freeform 212"/>
            <p:cNvSpPr>
              <a:spLocks/>
            </p:cNvSpPr>
            <p:nvPr/>
          </p:nvSpPr>
          <p:spPr bwMode="auto">
            <a:xfrm>
              <a:off x="8658225" y="2902744"/>
              <a:ext cx="87313" cy="88900"/>
            </a:xfrm>
            <a:custGeom>
              <a:avLst/>
              <a:gdLst>
                <a:gd name="T0" fmla="*/ 27 w 55"/>
                <a:gd name="T1" fmla="*/ 0 h 56"/>
                <a:gd name="T2" fmla="*/ 34 w 55"/>
                <a:gd name="T3" fmla="*/ 1 h 56"/>
                <a:gd name="T4" fmla="*/ 41 w 55"/>
                <a:gd name="T5" fmla="*/ 3 h 56"/>
                <a:gd name="T6" fmla="*/ 46 w 55"/>
                <a:gd name="T7" fmla="*/ 8 h 56"/>
                <a:gd name="T8" fmla="*/ 55 w 55"/>
                <a:gd name="T9" fmla="*/ 21 h 56"/>
                <a:gd name="T10" fmla="*/ 55 w 55"/>
                <a:gd name="T11" fmla="*/ 35 h 56"/>
                <a:gd name="T12" fmla="*/ 46 w 55"/>
                <a:gd name="T13" fmla="*/ 47 h 56"/>
                <a:gd name="T14" fmla="*/ 41 w 55"/>
                <a:gd name="T15" fmla="*/ 52 h 56"/>
                <a:gd name="T16" fmla="*/ 34 w 55"/>
                <a:gd name="T17" fmla="*/ 54 h 56"/>
                <a:gd name="T18" fmla="*/ 27 w 55"/>
                <a:gd name="T19" fmla="*/ 56 h 56"/>
                <a:gd name="T20" fmla="*/ 20 w 55"/>
                <a:gd name="T21" fmla="*/ 54 h 56"/>
                <a:gd name="T22" fmla="*/ 13 w 55"/>
                <a:gd name="T23" fmla="*/ 52 h 56"/>
                <a:gd name="T24" fmla="*/ 7 w 55"/>
                <a:gd name="T25" fmla="*/ 47 h 56"/>
                <a:gd name="T26" fmla="*/ 0 w 55"/>
                <a:gd name="T27" fmla="*/ 35 h 56"/>
                <a:gd name="T28" fmla="*/ 0 w 55"/>
                <a:gd name="T29" fmla="*/ 21 h 56"/>
                <a:gd name="T30" fmla="*/ 7 w 55"/>
                <a:gd name="T31" fmla="*/ 8 h 56"/>
                <a:gd name="T32" fmla="*/ 13 w 55"/>
                <a:gd name="T33" fmla="*/ 3 h 56"/>
                <a:gd name="T34" fmla="*/ 20 w 55"/>
                <a:gd name="T35" fmla="*/ 1 h 56"/>
                <a:gd name="T36" fmla="*/ 27 w 55"/>
                <a:gd name="T3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56">
                  <a:moveTo>
                    <a:pt x="27" y="0"/>
                  </a:moveTo>
                  <a:lnTo>
                    <a:pt x="34" y="1"/>
                  </a:lnTo>
                  <a:lnTo>
                    <a:pt x="41" y="3"/>
                  </a:lnTo>
                  <a:lnTo>
                    <a:pt x="46" y="8"/>
                  </a:lnTo>
                  <a:lnTo>
                    <a:pt x="55" y="21"/>
                  </a:lnTo>
                  <a:lnTo>
                    <a:pt x="55" y="35"/>
                  </a:lnTo>
                  <a:lnTo>
                    <a:pt x="46" y="47"/>
                  </a:lnTo>
                  <a:lnTo>
                    <a:pt x="41" y="52"/>
                  </a:lnTo>
                  <a:lnTo>
                    <a:pt x="34" y="54"/>
                  </a:lnTo>
                  <a:lnTo>
                    <a:pt x="27" y="56"/>
                  </a:lnTo>
                  <a:lnTo>
                    <a:pt x="20" y="54"/>
                  </a:lnTo>
                  <a:lnTo>
                    <a:pt x="13" y="52"/>
                  </a:lnTo>
                  <a:lnTo>
                    <a:pt x="7" y="47"/>
                  </a:lnTo>
                  <a:lnTo>
                    <a:pt x="0" y="35"/>
                  </a:lnTo>
                  <a:lnTo>
                    <a:pt x="0" y="21"/>
                  </a:lnTo>
                  <a:lnTo>
                    <a:pt x="7" y="8"/>
                  </a:lnTo>
                  <a:lnTo>
                    <a:pt x="13" y="3"/>
                  </a:lnTo>
                  <a:lnTo>
                    <a:pt x="20" y="1"/>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55" name="Freeform 213"/>
            <p:cNvSpPr>
              <a:spLocks noEditPoints="1"/>
            </p:cNvSpPr>
            <p:nvPr/>
          </p:nvSpPr>
          <p:spPr bwMode="auto">
            <a:xfrm>
              <a:off x="8018463" y="2751931"/>
              <a:ext cx="873125" cy="874713"/>
            </a:xfrm>
            <a:custGeom>
              <a:avLst/>
              <a:gdLst>
                <a:gd name="T0" fmla="*/ 407 w 550"/>
                <a:gd name="T1" fmla="*/ 65 h 551"/>
                <a:gd name="T2" fmla="*/ 376 w 550"/>
                <a:gd name="T3" fmla="*/ 95 h 551"/>
                <a:gd name="T4" fmla="*/ 369 w 550"/>
                <a:gd name="T5" fmla="*/ 131 h 551"/>
                <a:gd name="T6" fmla="*/ 386 w 550"/>
                <a:gd name="T7" fmla="*/ 166 h 551"/>
                <a:gd name="T8" fmla="*/ 430 w 550"/>
                <a:gd name="T9" fmla="*/ 184 h 551"/>
                <a:gd name="T10" fmla="*/ 473 w 550"/>
                <a:gd name="T11" fmla="*/ 166 h 551"/>
                <a:gd name="T12" fmla="*/ 491 w 550"/>
                <a:gd name="T13" fmla="*/ 131 h 551"/>
                <a:gd name="T14" fmla="*/ 486 w 550"/>
                <a:gd name="T15" fmla="*/ 95 h 551"/>
                <a:gd name="T16" fmla="*/ 454 w 550"/>
                <a:gd name="T17" fmla="*/ 65 h 551"/>
                <a:gd name="T18" fmla="*/ 487 w 550"/>
                <a:gd name="T19" fmla="*/ 0 h 551"/>
                <a:gd name="T20" fmla="*/ 524 w 550"/>
                <a:gd name="T21" fmla="*/ 25 h 551"/>
                <a:gd name="T22" fmla="*/ 545 w 550"/>
                <a:gd name="T23" fmla="*/ 51 h 551"/>
                <a:gd name="T24" fmla="*/ 550 w 550"/>
                <a:gd name="T25" fmla="*/ 63 h 551"/>
                <a:gd name="T26" fmla="*/ 550 w 550"/>
                <a:gd name="T27" fmla="*/ 86 h 551"/>
                <a:gd name="T28" fmla="*/ 547 w 550"/>
                <a:gd name="T29" fmla="*/ 135 h 551"/>
                <a:gd name="T30" fmla="*/ 543 w 550"/>
                <a:gd name="T31" fmla="*/ 194 h 551"/>
                <a:gd name="T32" fmla="*/ 540 w 550"/>
                <a:gd name="T33" fmla="*/ 245 h 551"/>
                <a:gd name="T34" fmla="*/ 534 w 550"/>
                <a:gd name="T35" fmla="*/ 269 h 551"/>
                <a:gd name="T36" fmla="*/ 271 w 550"/>
                <a:gd name="T37" fmla="*/ 533 h 551"/>
                <a:gd name="T38" fmla="*/ 253 w 550"/>
                <a:gd name="T39" fmla="*/ 549 h 551"/>
                <a:gd name="T40" fmla="*/ 245 w 550"/>
                <a:gd name="T41" fmla="*/ 551 h 551"/>
                <a:gd name="T42" fmla="*/ 238 w 550"/>
                <a:gd name="T43" fmla="*/ 549 h 551"/>
                <a:gd name="T44" fmla="*/ 222 w 550"/>
                <a:gd name="T45" fmla="*/ 544 h 551"/>
                <a:gd name="T46" fmla="*/ 189 w 550"/>
                <a:gd name="T47" fmla="*/ 524 h 551"/>
                <a:gd name="T48" fmla="*/ 135 w 550"/>
                <a:gd name="T49" fmla="*/ 479 h 551"/>
                <a:gd name="T50" fmla="*/ 46 w 550"/>
                <a:gd name="T51" fmla="*/ 388 h 551"/>
                <a:gd name="T52" fmla="*/ 14 w 550"/>
                <a:gd name="T53" fmla="*/ 343 h 551"/>
                <a:gd name="T54" fmla="*/ 4 w 550"/>
                <a:gd name="T55" fmla="*/ 318 h 551"/>
                <a:gd name="T56" fmla="*/ 2 w 550"/>
                <a:gd name="T57" fmla="*/ 311 h 551"/>
                <a:gd name="T58" fmla="*/ 2 w 550"/>
                <a:gd name="T59" fmla="*/ 303 h 551"/>
                <a:gd name="T60" fmla="*/ 5 w 550"/>
                <a:gd name="T61" fmla="*/ 292 h 551"/>
                <a:gd name="T62" fmla="*/ 239 w 550"/>
                <a:gd name="T63" fmla="*/ 58 h 551"/>
                <a:gd name="T64" fmla="*/ 290 w 550"/>
                <a:gd name="T65" fmla="*/ 14 h 551"/>
                <a:gd name="T66" fmla="*/ 328 w 550"/>
                <a:gd name="T67" fmla="*/ 9 h 551"/>
                <a:gd name="T68" fmla="*/ 386 w 550"/>
                <a:gd name="T69" fmla="*/ 6 h 551"/>
                <a:gd name="T70" fmla="*/ 444 w 550"/>
                <a:gd name="T71" fmla="*/ 2 h 551"/>
                <a:gd name="T72" fmla="*/ 482 w 550"/>
                <a:gd name="T73"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0" h="551">
                  <a:moveTo>
                    <a:pt x="430" y="60"/>
                  </a:moveTo>
                  <a:lnTo>
                    <a:pt x="407" y="65"/>
                  </a:lnTo>
                  <a:lnTo>
                    <a:pt x="386" y="79"/>
                  </a:lnTo>
                  <a:lnTo>
                    <a:pt x="376" y="95"/>
                  </a:lnTo>
                  <a:lnTo>
                    <a:pt x="369" y="114"/>
                  </a:lnTo>
                  <a:lnTo>
                    <a:pt x="369" y="131"/>
                  </a:lnTo>
                  <a:lnTo>
                    <a:pt x="376" y="151"/>
                  </a:lnTo>
                  <a:lnTo>
                    <a:pt x="386" y="166"/>
                  </a:lnTo>
                  <a:lnTo>
                    <a:pt x="407" y="180"/>
                  </a:lnTo>
                  <a:lnTo>
                    <a:pt x="430" y="184"/>
                  </a:lnTo>
                  <a:lnTo>
                    <a:pt x="454" y="180"/>
                  </a:lnTo>
                  <a:lnTo>
                    <a:pt x="473" y="166"/>
                  </a:lnTo>
                  <a:lnTo>
                    <a:pt x="486" y="151"/>
                  </a:lnTo>
                  <a:lnTo>
                    <a:pt x="491" y="131"/>
                  </a:lnTo>
                  <a:lnTo>
                    <a:pt x="491" y="114"/>
                  </a:lnTo>
                  <a:lnTo>
                    <a:pt x="486" y="95"/>
                  </a:lnTo>
                  <a:lnTo>
                    <a:pt x="473" y="79"/>
                  </a:lnTo>
                  <a:lnTo>
                    <a:pt x="454" y="65"/>
                  </a:lnTo>
                  <a:lnTo>
                    <a:pt x="430" y="60"/>
                  </a:lnTo>
                  <a:close/>
                  <a:moveTo>
                    <a:pt x="487" y="0"/>
                  </a:moveTo>
                  <a:lnTo>
                    <a:pt x="508" y="13"/>
                  </a:lnTo>
                  <a:lnTo>
                    <a:pt x="524" y="25"/>
                  </a:lnTo>
                  <a:lnTo>
                    <a:pt x="536" y="39"/>
                  </a:lnTo>
                  <a:lnTo>
                    <a:pt x="545" y="51"/>
                  </a:lnTo>
                  <a:lnTo>
                    <a:pt x="548" y="60"/>
                  </a:lnTo>
                  <a:lnTo>
                    <a:pt x="550" y="63"/>
                  </a:lnTo>
                  <a:lnTo>
                    <a:pt x="550" y="70"/>
                  </a:lnTo>
                  <a:lnTo>
                    <a:pt x="550" y="86"/>
                  </a:lnTo>
                  <a:lnTo>
                    <a:pt x="548" y="109"/>
                  </a:lnTo>
                  <a:lnTo>
                    <a:pt x="547" y="135"/>
                  </a:lnTo>
                  <a:lnTo>
                    <a:pt x="545" y="165"/>
                  </a:lnTo>
                  <a:lnTo>
                    <a:pt x="543" y="194"/>
                  </a:lnTo>
                  <a:lnTo>
                    <a:pt x="541" y="222"/>
                  </a:lnTo>
                  <a:lnTo>
                    <a:pt x="540" y="245"/>
                  </a:lnTo>
                  <a:lnTo>
                    <a:pt x="536" y="262"/>
                  </a:lnTo>
                  <a:lnTo>
                    <a:pt x="534" y="269"/>
                  </a:lnTo>
                  <a:lnTo>
                    <a:pt x="492" y="311"/>
                  </a:lnTo>
                  <a:lnTo>
                    <a:pt x="271" y="533"/>
                  </a:lnTo>
                  <a:lnTo>
                    <a:pt x="259" y="545"/>
                  </a:lnTo>
                  <a:lnTo>
                    <a:pt x="253" y="549"/>
                  </a:lnTo>
                  <a:lnTo>
                    <a:pt x="250" y="551"/>
                  </a:lnTo>
                  <a:lnTo>
                    <a:pt x="245" y="551"/>
                  </a:lnTo>
                  <a:lnTo>
                    <a:pt x="241" y="551"/>
                  </a:lnTo>
                  <a:lnTo>
                    <a:pt x="238" y="549"/>
                  </a:lnTo>
                  <a:lnTo>
                    <a:pt x="232" y="549"/>
                  </a:lnTo>
                  <a:lnTo>
                    <a:pt x="222" y="544"/>
                  </a:lnTo>
                  <a:lnTo>
                    <a:pt x="208" y="537"/>
                  </a:lnTo>
                  <a:lnTo>
                    <a:pt x="189" y="524"/>
                  </a:lnTo>
                  <a:lnTo>
                    <a:pt x="164" y="505"/>
                  </a:lnTo>
                  <a:lnTo>
                    <a:pt x="135" y="479"/>
                  </a:lnTo>
                  <a:lnTo>
                    <a:pt x="72" y="418"/>
                  </a:lnTo>
                  <a:lnTo>
                    <a:pt x="46" y="388"/>
                  </a:lnTo>
                  <a:lnTo>
                    <a:pt x="28" y="364"/>
                  </a:lnTo>
                  <a:lnTo>
                    <a:pt x="14" y="343"/>
                  </a:lnTo>
                  <a:lnTo>
                    <a:pt x="7" y="329"/>
                  </a:lnTo>
                  <a:lnTo>
                    <a:pt x="4" y="318"/>
                  </a:lnTo>
                  <a:lnTo>
                    <a:pt x="2" y="313"/>
                  </a:lnTo>
                  <a:lnTo>
                    <a:pt x="2" y="311"/>
                  </a:lnTo>
                  <a:lnTo>
                    <a:pt x="0" y="306"/>
                  </a:lnTo>
                  <a:lnTo>
                    <a:pt x="2" y="303"/>
                  </a:lnTo>
                  <a:lnTo>
                    <a:pt x="2" y="297"/>
                  </a:lnTo>
                  <a:lnTo>
                    <a:pt x="5" y="292"/>
                  </a:lnTo>
                  <a:lnTo>
                    <a:pt x="18" y="280"/>
                  </a:lnTo>
                  <a:lnTo>
                    <a:pt x="239" y="58"/>
                  </a:lnTo>
                  <a:lnTo>
                    <a:pt x="281" y="16"/>
                  </a:lnTo>
                  <a:lnTo>
                    <a:pt x="290" y="14"/>
                  </a:lnTo>
                  <a:lnTo>
                    <a:pt x="306" y="13"/>
                  </a:lnTo>
                  <a:lnTo>
                    <a:pt x="328" y="9"/>
                  </a:lnTo>
                  <a:lnTo>
                    <a:pt x="356" y="7"/>
                  </a:lnTo>
                  <a:lnTo>
                    <a:pt x="386" y="6"/>
                  </a:lnTo>
                  <a:lnTo>
                    <a:pt x="416" y="4"/>
                  </a:lnTo>
                  <a:lnTo>
                    <a:pt x="444" y="2"/>
                  </a:lnTo>
                  <a:lnTo>
                    <a:pt x="466" y="0"/>
                  </a:lnTo>
                  <a:lnTo>
                    <a:pt x="482" y="0"/>
                  </a:lnTo>
                  <a:lnTo>
                    <a:pt x="4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grpSp>
      <p:grpSp>
        <p:nvGrpSpPr>
          <p:cNvPr id="56" name="Group 55"/>
          <p:cNvGrpSpPr>
            <a:grpSpLocks noChangeAspect="1"/>
          </p:cNvGrpSpPr>
          <p:nvPr/>
        </p:nvGrpSpPr>
        <p:grpSpPr>
          <a:xfrm>
            <a:off x="10368995" y="902511"/>
            <a:ext cx="160296" cy="157381"/>
            <a:chOff x="6011863" y="2794794"/>
            <a:chExt cx="873125" cy="857250"/>
          </a:xfrm>
          <a:solidFill>
            <a:schemeClr val="tx1"/>
          </a:solidFill>
        </p:grpSpPr>
        <p:sp>
          <p:nvSpPr>
            <p:cNvPr id="57" name="Freeform 250"/>
            <p:cNvSpPr>
              <a:spLocks/>
            </p:cNvSpPr>
            <p:nvPr/>
          </p:nvSpPr>
          <p:spPr bwMode="auto">
            <a:xfrm>
              <a:off x="6572250" y="2902744"/>
              <a:ext cx="138113" cy="166688"/>
            </a:xfrm>
            <a:custGeom>
              <a:avLst/>
              <a:gdLst>
                <a:gd name="T0" fmla="*/ 43 w 87"/>
                <a:gd name="T1" fmla="*/ 0 h 105"/>
                <a:gd name="T2" fmla="*/ 61 w 87"/>
                <a:gd name="T3" fmla="*/ 4 h 105"/>
                <a:gd name="T4" fmla="*/ 75 w 87"/>
                <a:gd name="T5" fmla="*/ 13 h 105"/>
                <a:gd name="T6" fmla="*/ 84 w 87"/>
                <a:gd name="T7" fmla="*/ 27 h 105"/>
                <a:gd name="T8" fmla="*/ 87 w 87"/>
                <a:gd name="T9" fmla="*/ 44 h 105"/>
                <a:gd name="T10" fmla="*/ 87 w 87"/>
                <a:gd name="T11" fmla="*/ 58 h 105"/>
                <a:gd name="T12" fmla="*/ 84 w 87"/>
                <a:gd name="T13" fmla="*/ 74 h 105"/>
                <a:gd name="T14" fmla="*/ 75 w 87"/>
                <a:gd name="T15" fmla="*/ 88 h 105"/>
                <a:gd name="T16" fmla="*/ 71 w 87"/>
                <a:gd name="T17" fmla="*/ 93 h 105"/>
                <a:gd name="T18" fmla="*/ 66 w 87"/>
                <a:gd name="T19" fmla="*/ 97 h 105"/>
                <a:gd name="T20" fmla="*/ 59 w 87"/>
                <a:gd name="T21" fmla="*/ 102 h 105"/>
                <a:gd name="T22" fmla="*/ 50 w 87"/>
                <a:gd name="T23" fmla="*/ 104 h 105"/>
                <a:gd name="T24" fmla="*/ 43 w 87"/>
                <a:gd name="T25" fmla="*/ 105 h 105"/>
                <a:gd name="T26" fmla="*/ 36 w 87"/>
                <a:gd name="T27" fmla="*/ 104 h 105"/>
                <a:gd name="T28" fmla="*/ 29 w 87"/>
                <a:gd name="T29" fmla="*/ 102 h 105"/>
                <a:gd name="T30" fmla="*/ 22 w 87"/>
                <a:gd name="T31" fmla="*/ 97 h 105"/>
                <a:gd name="T32" fmla="*/ 15 w 87"/>
                <a:gd name="T33" fmla="*/ 91 h 105"/>
                <a:gd name="T34" fmla="*/ 12 w 87"/>
                <a:gd name="T35" fmla="*/ 86 h 105"/>
                <a:gd name="T36" fmla="*/ 5 w 87"/>
                <a:gd name="T37" fmla="*/ 72 h 105"/>
                <a:gd name="T38" fmla="*/ 1 w 87"/>
                <a:gd name="T39" fmla="*/ 58 h 105"/>
                <a:gd name="T40" fmla="*/ 0 w 87"/>
                <a:gd name="T41" fmla="*/ 44 h 105"/>
                <a:gd name="T42" fmla="*/ 3 w 87"/>
                <a:gd name="T43" fmla="*/ 27 h 105"/>
                <a:gd name="T44" fmla="*/ 14 w 87"/>
                <a:gd name="T45" fmla="*/ 13 h 105"/>
                <a:gd name="T46" fmla="*/ 28 w 87"/>
                <a:gd name="T47" fmla="*/ 4 h 105"/>
                <a:gd name="T48" fmla="*/ 43 w 87"/>
                <a:gd name="T4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05">
                  <a:moveTo>
                    <a:pt x="43" y="0"/>
                  </a:moveTo>
                  <a:lnTo>
                    <a:pt x="61" y="4"/>
                  </a:lnTo>
                  <a:lnTo>
                    <a:pt x="75" y="13"/>
                  </a:lnTo>
                  <a:lnTo>
                    <a:pt x="84" y="27"/>
                  </a:lnTo>
                  <a:lnTo>
                    <a:pt x="87" y="44"/>
                  </a:lnTo>
                  <a:lnTo>
                    <a:pt x="87" y="58"/>
                  </a:lnTo>
                  <a:lnTo>
                    <a:pt x="84" y="74"/>
                  </a:lnTo>
                  <a:lnTo>
                    <a:pt x="75" y="88"/>
                  </a:lnTo>
                  <a:lnTo>
                    <a:pt x="71" y="93"/>
                  </a:lnTo>
                  <a:lnTo>
                    <a:pt x="66" y="97"/>
                  </a:lnTo>
                  <a:lnTo>
                    <a:pt x="59" y="102"/>
                  </a:lnTo>
                  <a:lnTo>
                    <a:pt x="50" y="104"/>
                  </a:lnTo>
                  <a:lnTo>
                    <a:pt x="43" y="105"/>
                  </a:lnTo>
                  <a:lnTo>
                    <a:pt x="36" y="104"/>
                  </a:lnTo>
                  <a:lnTo>
                    <a:pt x="29" y="102"/>
                  </a:lnTo>
                  <a:lnTo>
                    <a:pt x="22" y="97"/>
                  </a:lnTo>
                  <a:lnTo>
                    <a:pt x="15" y="91"/>
                  </a:lnTo>
                  <a:lnTo>
                    <a:pt x="12" y="86"/>
                  </a:lnTo>
                  <a:lnTo>
                    <a:pt x="5" y="72"/>
                  </a:lnTo>
                  <a:lnTo>
                    <a:pt x="1" y="58"/>
                  </a:lnTo>
                  <a:lnTo>
                    <a:pt x="0" y="44"/>
                  </a:lnTo>
                  <a:lnTo>
                    <a:pt x="3" y="27"/>
                  </a:lnTo>
                  <a:lnTo>
                    <a:pt x="14" y="13"/>
                  </a:lnTo>
                  <a:lnTo>
                    <a:pt x="28" y="4"/>
                  </a:lnTo>
                  <a:lnTo>
                    <a:pt x="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58" name="Freeform 251"/>
            <p:cNvSpPr>
              <a:spLocks noEditPoints="1"/>
            </p:cNvSpPr>
            <p:nvPr/>
          </p:nvSpPr>
          <p:spPr bwMode="auto">
            <a:xfrm>
              <a:off x="6011863" y="2794794"/>
              <a:ext cx="873125" cy="857250"/>
            </a:xfrm>
            <a:custGeom>
              <a:avLst/>
              <a:gdLst>
                <a:gd name="T0" fmla="*/ 61 w 550"/>
                <a:gd name="T1" fmla="*/ 187 h 540"/>
                <a:gd name="T2" fmla="*/ 42 w 550"/>
                <a:gd name="T3" fmla="*/ 198 h 540"/>
                <a:gd name="T4" fmla="*/ 40 w 550"/>
                <a:gd name="T5" fmla="*/ 226 h 540"/>
                <a:gd name="T6" fmla="*/ 52 w 550"/>
                <a:gd name="T7" fmla="*/ 397 h 540"/>
                <a:gd name="T8" fmla="*/ 91 w 550"/>
                <a:gd name="T9" fmla="*/ 409 h 540"/>
                <a:gd name="T10" fmla="*/ 185 w 550"/>
                <a:gd name="T11" fmla="*/ 503 h 540"/>
                <a:gd name="T12" fmla="*/ 227 w 550"/>
                <a:gd name="T13" fmla="*/ 400 h 540"/>
                <a:gd name="T14" fmla="*/ 243 w 550"/>
                <a:gd name="T15" fmla="*/ 201 h 540"/>
                <a:gd name="T16" fmla="*/ 239 w 550"/>
                <a:gd name="T17" fmla="*/ 198 h 540"/>
                <a:gd name="T18" fmla="*/ 220 w 550"/>
                <a:gd name="T19" fmla="*/ 187 h 540"/>
                <a:gd name="T20" fmla="*/ 161 w 550"/>
                <a:gd name="T21" fmla="*/ 186 h 540"/>
                <a:gd name="T22" fmla="*/ 141 w 550"/>
                <a:gd name="T23" fmla="*/ 68 h 540"/>
                <a:gd name="T24" fmla="*/ 98 w 550"/>
                <a:gd name="T25" fmla="*/ 112 h 540"/>
                <a:gd name="T26" fmla="*/ 114 w 550"/>
                <a:gd name="T27" fmla="*/ 159 h 540"/>
                <a:gd name="T28" fmla="*/ 141 w 550"/>
                <a:gd name="T29" fmla="*/ 173 h 540"/>
                <a:gd name="T30" fmla="*/ 168 w 550"/>
                <a:gd name="T31" fmla="*/ 161 h 540"/>
                <a:gd name="T32" fmla="*/ 185 w 550"/>
                <a:gd name="T33" fmla="*/ 112 h 540"/>
                <a:gd name="T34" fmla="*/ 141 w 550"/>
                <a:gd name="T35" fmla="*/ 68 h 540"/>
                <a:gd name="T36" fmla="*/ 278 w 550"/>
                <a:gd name="T37" fmla="*/ 507 h 540"/>
                <a:gd name="T38" fmla="*/ 328 w 550"/>
                <a:gd name="T39" fmla="*/ 406 h 540"/>
                <a:gd name="T40" fmla="*/ 307 w 550"/>
                <a:gd name="T41" fmla="*/ 393 h 540"/>
                <a:gd name="T42" fmla="*/ 295 w 550"/>
                <a:gd name="T43" fmla="*/ 199 h 540"/>
                <a:gd name="T44" fmla="*/ 300 w 550"/>
                <a:gd name="T45" fmla="*/ 196 h 540"/>
                <a:gd name="T46" fmla="*/ 337 w 550"/>
                <a:gd name="T47" fmla="*/ 180 h 540"/>
                <a:gd name="T48" fmla="*/ 396 w 550"/>
                <a:gd name="T49" fmla="*/ 191 h 540"/>
                <a:gd name="T50" fmla="*/ 457 w 550"/>
                <a:gd name="T51" fmla="*/ 180 h 540"/>
                <a:gd name="T52" fmla="*/ 494 w 550"/>
                <a:gd name="T53" fmla="*/ 196 h 540"/>
                <a:gd name="T54" fmla="*/ 499 w 550"/>
                <a:gd name="T55" fmla="*/ 199 h 540"/>
                <a:gd name="T56" fmla="*/ 485 w 550"/>
                <a:gd name="T57" fmla="*/ 397 h 540"/>
                <a:gd name="T58" fmla="*/ 447 w 550"/>
                <a:gd name="T59" fmla="*/ 409 h 540"/>
                <a:gd name="T60" fmla="*/ 503 w 550"/>
                <a:gd name="T61" fmla="*/ 474 h 540"/>
                <a:gd name="T62" fmla="*/ 510 w 550"/>
                <a:gd name="T63" fmla="*/ 468 h 540"/>
                <a:gd name="T64" fmla="*/ 517 w 550"/>
                <a:gd name="T65" fmla="*/ 79 h 540"/>
                <a:gd name="T66" fmla="*/ 508 w 550"/>
                <a:gd name="T67" fmla="*/ 72 h 540"/>
                <a:gd name="T68" fmla="*/ 456 w 550"/>
                <a:gd name="T69" fmla="*/ 53 h 540"/>
                <a:gd name="T70" fmla="*/ 278 w 550"/>
                <a:gd name="T71" fmla="*/ 35 h 540"/>
                <a:gd name="T72" fmla="*/ 339 w 550"/>
                <a:gd name="T73" fmla="*/ 2 h 540"/>
                <a:gd name="T74" fmla="*/ 491 w 550"/>
                <a:gd name="T75" fmla="*/ 27 h 540"/>
                <a:gd name="T76" fmla="*/ 533 w 550"/>
                <a:gd name="T77" fmla="*/ 48 h 540"/>
                <a:gd name="T78" fmla="*/ 550 w 550"/>
                <a:gd name="T79" fmla="*/ 463 h 540"/>
                <a:gd name="T80" fmla="*/ 526 w 550"/>
                <a:gd name="T81" fmla="*/ 500 h 540"/>
                <a:gd name="T82" fmla="*/ 464 w 550"/>
                <a:gd name="T83" fmla="*/ 523 h 540"/>
                <a:gd name="T84" fmla="*/ 278 w 550"/>
                <a:gd name="T85" fmla="*/ 540 h 540"/>
                <a:gd name="T86" fmla="*/ 183 w 550"/>
                <a:gd name="T87" fmla="*/ 537 h 540"/>
                <a:gd name="T88" fmla="*/ 98 w 550"/>
                <a:gd name="T89" fmla="*/ 524 h 540"/>
                <a:gd name="T90" fmla="*/ 24 w 550"/>
                <a:gd name="T91" fmla="*/ 500 h 540"/>
                <a:gd name="T92" fmla="*/ 0 w 550"/>
                <a:gd name="T93" fmla="*/ 463 h 540"/>
                <a:gd name="T94" fmla="*/ 17 w 550"/>
                <a:gd name="T95" fmla="*/ 48 h 540"/>
                <a:gd name="T96" fmla="*/ 61 w 550"/>
                <a:gd name="T97" fmla="*/ 27 h 540"/>
                <a:gd name="T98" fmla="*/ 211 w 550"/>
                <a:gd name="T99" fmla="*/ 2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540">
                  <a:moveTo>
                    <a:pt x="105" y="173"/>
                  </a:moveTo>
                  <a:lnTo>
                    <a:pt x="103" y="173"/>
                  </a:lnTo>
                  <a:lnTo>
                    <a:pt x="80" y="180"/>
                  </a:lnTo>
                  <a:lnTo>
                    <a:pt x="61" y="187"/>
                  </a:lnTo>
                  <a:lnTo>
                    <a:pt x="56" y="191"/>
                  </a:lnTo>
                  <a:lnTo>
                    <a:pt x="51" y="192"/>
                  </a:lnTo>
                  <a:lnTo>
                    <a:pt x="44" y="196"/>
                  </a:lnTo>
                  <a:lnTo>
                    <a:pt x="42" y="198"/>
                  </a:lnTo>
                  <a:lnTo>
                    <a:pt x="42" y="198"/>
                  </a:lnTo>
                  <a:lnTo>
                    <a:pt x="42" y="198"/>
                  </a:lnTo>
                  <a:lnTo>
                    <a:pt x="40" y="199"/>
                  </a:lnTo>
                  <a:lnTo>
                    <a:pt x="40" y="226"/>
                  </a:lnTo>
                  <a:lnTo>
                    <a:pt x="47" y="330"/>
                  </a:lnTo>
                  <a:lnTo>
                    <a:pt x="49" y="346"/>
                  </a:lnTo>
                  <a:lnTo>
                    <a:pt x="52" y="393"/>
                  </a:lnTo>
                  <a:lnTo>
                    <a:pt x="52" y="397"/>
                  </a:lnTo>
                  <a:lnTo>
                    <a:pt x="56" y="400"/>
                  </a:lnTo>
                  <a:lnTo>
                    <a:pt x="61" y="402"/>
                  </a:lnTo>
                  <a:lnTo>
                    <a:pt x="72" y="406"/>
                  </a:lnTo>
                  <a:lnTo>
                    <a:pt x="91" y="409"/>
                  </a:lnTo>
                  <a:lnTo>
                    <a:pt x="96" y="488"/>
                  </a:lnTo>
                  <a:lnTo>
                    <a:pt x="119" y="493"/>
                  </a:lnTo>
                  <a:lnTo>
                    <a:pt x="150" y="498"/>
                  </a:lnTo>
                  <a:lnTo>
                    <a:pt x="185" y="503"/>
                  </a:lnTo>
                  <a:lnTo>
                    <a:pt x="190" y="409"/>
                  </a:lnTo>
                  <a:lnTo>
                    <a:pt x="224" y="404"/>
                  </a:lnTo>
                  <a:lnTo>
                    <a:pt x="225" y="402"/>
                  </a:lnTo>
                  <a:lnTo>
                    <a:pt x="227" y="400"/>
                  </a:lnTo>
                  <a:lnTo>
                    <a:pt x="229" y="397"/>
                  </a:lnTo>
                  <a:lnTo>
                    <a:pt x="232" y="343"/>
                  </a:lnTo>
                  <a:lnTo>
                    <a:pt x="234" y="329"/>
                  </a:lnTo>
                  <a:lnTo>
                    <a:pt x="243" y="201"/>
                  </a:lnTo>
                  <a:lnTo>
                    <a:pt x="243" y="199"/>
                  </a:lnTo>
                  <a:lnTo>
                    <a:pt x="241" y="198"/>
                  </a:lnTo>
                  <a:lnTo>
                    <a:pt x="239" y="198"/>
                  </a:lnTo>
                  <a:lnTo>
                    <a:pt x="239" y="198"/>
                  </a:lnTo>
                  <a:lnTo>
                    <a:pt x="237" y="196"/>
                  </a:lnTo>
                  <a:lnTo>
                    <a:pt x="232" y="192"/>
                  </a:lnTo>
                  <a:lnTo>
                    <a:pt x="227" y="191"/>
                  </a:lnTo>
                  <a:lnTo>
                    <a:pt x="220" y="187"/>
                  </a:lnTo>
                  <a:lnTo>
                    <a:pt x="201" y="180"/>
                  </a:lnTo>
                  <a:lnTo>
                    <a:pt x="178" y="173"/>
                  </a:lnTo>
                  <a:lnTo>
                    <a:pt x="178" y="173"/>
                  </a:lnTo>
                  <a:lnTo>
                    <a:pt x="161" y="186"/>
                  </a:lnTo>
                  <a:lnTo>
                    <a:pt x="141" y="191"/>
                  </a:lnTo>
                  <a:lnTo>
                    <a:pt x="122" y="186"/>
                  </a:lnTo>
                  <a:lnTo>
                    <a:pt x="105" y="173"/>
                  </a:lnTo>
                  <a:close/>
                  <a:moveTo>
                    <a:pt x="141" y="68"/>
                  </a:moveTo>
                  <a:lnTo>
                    <a:pt x="124" y="72"/>
                  </a:lnTo>
                  <a:lnTo>
                    <a:pt x="110" y="81"/>
                  </a:lnTo>
                  <a:lnTo>
                    <a:pt x="101" y="95"/>
                  </a:lnTo>
                  <a:lnTo>
                    <a:pt x="98" y="112"/>
                  </a:lnTo>
                  <a:lnTo>
                    <a:pt x="98" y="126"/>
                  </a:lnTo>
                  <a:lnTo>
                    <a:pt x="101" y="140"/>
                  </a:lnTo>
                  <a:lnTo>
                    <a:pt x="108" y="154"/>
                  </a:lnTo>
                  <a:lnTo>
                    <a:pt x="114" y="159"/>
                  </a:lnTo>
                  <a:lnTo>
                    <a:pt x="119" y="165"/>
                  </a:lnTo>
                  <a:lnTo>
                    <a:pt x="126" y="170"/>
                  </a:lnTo>
                  <a:lnTo>
                    <a:pt x="134" y="172"/>
                  </a:lnTo>
                  <a:lnTo>
                    <a:pt x="141" y="173"/>
                  </a:lnTo>
                  <a:lnTo>
                    <a:pt x="148" y="172"/>
                  </a:lnTo>
                  <a:lnTo>
                    <a:pt x="155" y="170"/>
                  </a:lnTo>
                  <a:lnTo>
                    <a:pt x="162" y="165"/>
                  </a:lnTo>
                  <a:lnTo>
                    <a:pt x="168" y="161"/>
                  </a:lnTo>
                  <a:lnTo>
                    <a:pt x="173" y="156"/>
                  </a:lnTo>
                  <a:lnTo>
                    <a:pt x="180" y="142"/>
                  </a:lnTo>
                  <a:lnTo>
                    <a:pt x="183" y="126"/>
                  </a:lnTo>
                  <a:lnTo>
                    <a:pt x="185" y="112"/>
                  </a:lnTo>
                  <a:lnTo>
                    <a:pt x="182" y="95"/>
                  </a:lnTo>
                  <a:lnTo>
                    <a:pt x="171" y="81"/>
                  </a:lnTo>
                  <a:lnTo>
                    <a:pt x="157" y="72"/>
                  </a:lnTo>
                  <a:lnTo>
                    <a:pt x="141" y="68"/>
                  </a:lnTo>
                  <a:close/>
                  <a:moveTo>
                    <a:pt x="278" y="35"/>
                  </a:moveTo>
                  <a:lnTo>
                    <a:pt x="272" y="35"/>
                  </a:lnTo>
                  <a:lnTo>
                    <a:pt x="272" y="507"/>
                  </a:lnTo>
                  <a:lnTo>
                    <a:pt x="278" y="507"/>
                  </a:lnTo>
                  <a:lnTo>
                    <a:pt x="318" y="507"/>
                  </a:lnTo>
                  <a:lnTo>
                    <a:pt x="353" y="505"/>
                  </a:lnTo>
                  <a:lnTo>
                    <a:pt x="347" y="409"/>
                  </a:lnTo>
                  <a:lnTo>
                    <a:pt x="328" y="406"/>
                  </a:lnTo>
                  <a:lnTo>
                    <a:pt x="316" y="402"/>
                  </a:lnTo>
                  <a:lnTo>
                    <a:pt x="313" y="400"/>
                  </a:lnTo>
                  <a:lnTo>
                    <a:pt x="309" y="397"/>
                  </a:lnTo>
                  <a:lnTo>
                    <a:pt x="307" y="393"/>
                  </a:lnTo>
                  <a:lnTo>
                    <a:pt x="304" y="346"/>
                  </a:lnTo>
                  <a:lnTo>
                    <a:pt x="304" y="330"/>
                  </a:lnTo>
                  <a:lnTo>
                    <a:pt x="295" y="201"/>
                  </a:lnTo>
                  <a:lnTo>
                    <a:pt x="295" y="199"/>
                  </a:lnTo>
                  <a:lnTo>
                    <a:pt x="297" y="198"/>
                  </a:lnTo>
                  <a:lnTo>
                    <a:pt x="299" y="198"/>
                  </a:lnTo>
                  <a:lnTo>
                    <a:pt x="299" y="198"/>
                  </a:lnTo>
                  <a:lnTo>
                    <a:pt x="300" y="196"/>
                  </a:lnTo>
                  <a:lnTo>
                    <a:pt x="306" y="192"/>
                  </a:lnTo>
                  <a:lnTo>
                    <a:pt x="311" y="191"/>
                  </a:lnTo>
                  <a:lnTo>
                    <a:pt x="318" y="187"/>
                  </a:lnTo>
                  <a:lnTo>
                    <a:pt x="337" y="180"/>
                  </a:lnTo>
                  <a:lnTo>
                    <a:pt x="360" y="173"/>
                  </a:lnTo>
                  <a:lnTo>
                    <a:pt x="360" y="173"/>
                  </a:lnTo>
                  <a:lnTo>
                    <a:pt x="377" y="186"/>
                  </a:lnTo>
                  <a:lnTo>
                    <a:pt x="396" y="191"/>
                  </a:lnTo>
                  <a:lnTo>
                    <a:pt x="416" y="186"/>
                  </a:lnTo>
                  <a:lnTo>
                    <a:pt x="433" y="173"/>
                  </a:lnTo>
                  <a:lnTo>
                    <a:pt x="435" y="173"/>
                  </a:lnTo>
                  <a:lnTo>
                    <a:pt x="457" y="180"/>
                  </a:lnTo>
                  <a:lnTo>
                    <a:pt x="477" y="187"/>
                  </a:lnTo>
                  <a:lnTo>
                    <a:pt x="482" y="191"/>
                  </a:lnTo>
                  <a:lnTo>
                    <a:pt x="487" y="192"/>
                  </a:lnTo>
                  <a:lnTo>
                    <a:pt x="494" y="196"/>
                  </a:lnTo>
                  <a:lnTo>
                    <a:pt x="496" y="198"/>
                  </a:lnTo>
                  <a:lnTo>
                    <a:pt x="496" y="198"/>
                  </a:lnTo>
                  <a:lnTo>
                    <a:pt x="496" y="198"/>
                  </a:lnTo>
                  <a:lnTo>
                    <a:pt x="499" y="199"/>
                  </a:lnTo>
                  <a:lnTo>
                    <a:pt x="499" y="201"/>
                  </a:lnTo>
                  <a:lnTo>
                    <a:pt x="489" y="329"/>
                  </a:lnTo>
                  <a:lnTo>
                    <a:pt x="489" y="343"/>
                  </a:lnTo>
                  <a:lnTo>
                    <a:pt x="485" y="397"/>
                  </a:lnTo>
                  <a:lnTo>
                    <a:pt x="484" y="400"/>
                  </a:lnTo>
                  <a:lnTo>
                    <a:pt x="482" y="402"/>
                  </a:lnTo>
                  <a:lnTo>
                    <a:pt x="480" y="404"/>
                  </a:lnTo>
                  <a:lnTo>
                    <a:pt x="447" y="409"/>
                  </a:lnTo>
                  <a:lnTo>
                    <a:pt x="442" y="493"/>
                  </a:lnTo>
                  <a:lnTo>
                    <a:pt x="471" y="484"/>
                  </a:lnTo>
                  <a:lnTo>
                    <a:pt x="492" y="477"/>
                  </a:lnTo>
                  <a:lnTo>
                    <a:pt x="503" y="474"/>
                  </a:lnTo>
                  <a:lnTo>
                    <a:pt x="508" y="470"/>
                  </a:lnTo>
                  <a:lnTo>
                    <a:pt x="508" y="470"/>
                  </a:lnTo>
                  <a:lnTo>
                    <a:pt x="508" y="470"/>
                  </a:lnTo>
                  <a:lnTo>
                    <a:pt x="510" y="468"/>
                  </a:lnTo>
                  <a:lnTo>
                    <a:pt x="513" y="467"/>
                  </a:lnTo>
                  <a:lnTo>
                    <a:pt x="515" y="465"/>
                  </a:lnTo>
                  <a:lnTo>
                    <a:pt x="517" y="463"/>
                  </a:lnTo>
                  <a:lnTo>
                    <a:pt x="517" y="79"/>
                  </a:lnTo>
                  <a:lnTo>
                    <a:pt x="515" y="77"/>
                  </a:lnTo>
                  <a:lnTo>
                    <a:pt x="513" y="75"/>
                  </a:lnTo>
                  <a:lnTo>
                    <a:pt x="510" y="72"/>
                  </a:lnTo>
                  <a:lnTo>
                    <a:pt x="508" y="72"/>
                  </a:lnTo>
                  <a:lnTo>
                    <a:pt x="505" y="68"/>
                  </a:lnTo>
                  <a:lnTo>
                    <a:pt x="494" y="65"/>
                  </a:lnTo>
                  <a:lnTo>
                    <a:pt x="478" y="60"/>
                  </a:lnTo>
                  <a:lnTo>
                    <a:pt x="456" y="53"/>
                  </a:lnTo>
                  <a:lnTo>
                    <a:pt x="424" y="46"/>
                  </a:lnTo>
                  <a:lnTo>
                    <a:pt x="386" y="41"/>
                  </a:lnTo>
                  <a:lnTo>
                    <a:pt x="337" y="37"/>
                  </a:lnTo>
                  <a:lnTo>
                    <a:pt x="278" y="35"/>
                  </a:lnTo>
                  <a:close/>
                  <a:moveTo>
                    <a:pt x="272" y="0"/>
                  </a:moveTo>
                  <a:lnTo>
                    <a:pt x="272" y="0"/>
                  </a:lnTo>
                  <a:lnTo>
                    <a:pt x="278" y="0"/>
                  </a:lnTo>
                  <a:lnTo>
                    <a:pt x="339" y="2"/>
                  </a:lnTo>
                  <a:lnTo>
                    <a:pt x="389" y="6"/>
                  </a:lnTo>
                  <a:lnTo>
                    <a:pt x="431" y="13"/>
                  </a:lnTo>
                  <a:lnTo>
                    <a:pt x="464" y="20"/>
                  </a:lnTo>
                  <a:lnTo>
                    <a:pt x="491" y="27"/>
                  </a:lnTo>
                  <a:lnTo>
                    <a:pt x="508" y="34"/>
                  </a:lnTo>
                  <a:lnTo>
                    <a:pt x="520" y="39"/>
                  </a:lnTo>
                  <a:lnTo>
                    <a:pt x="526" y="42"/>
                  </a:lnTo>
                  <a:lnTo>
                    <a:pt x="533" y="48"/>
                  </a:lnTo>
                  <a:lnTo>
                    <a:pt x="541" y="54"/>
                  </a:lnTo>
                  <a:lnTo>
                    <a:pt x="548" y="65"/>
                  </a:lnTo>
                  <a:lnTo>
                    <a:pt x="550" y="79"/>
                  </a:lnTo>
                  <a:lnTo>
                    <a:pt x="550" y="463"/>
                  </a:lnTo>
                  <a:lnTo>
                    <a:pt x="548" y="477"/>
                  </a:lnTo>
                  <a:lnTo>
                    <a:pt x="541" y="488"/>
                  </a:lnTo>
                  <a:lnTo>
                    <a:pt x="533" y="495"/>
                  </a:lnTo>
                  <a:lnTo>
                    <a:pt x="526" y="500"/>
                  </a:lnTo>
                  <a:lnTo>
                    <a:pt x="520" y="503"/>
                  </a:lnTo>
                  <a:lnTo>
                    <a:pt x="508" y="509"/>
                  </a:lnTo>
                  <a:lnTo>
                    <a:pt x="491" y="516"/>
                  </a:lnTo>
                  <a:lnTo>
                    <a:pt x="464" y="523"/>
                  </a:lnTo>
                  <a:lnTo>
                    <a:pt x="431" y="530"/>
                  </a:lnTo>
                  <a:lnTo>
                    <a:pt x="389" y="535"/>
                  </a:lnTo>
                  <a:lnTo>
                    <a:pt x="339" y="538"/>
                  </a:lnTo>
                  <a:lnTo>
                    <a:pt x="278" y="540"/>
                  </a:lnTo>
                  <a:lnTo>
                    <a:pt x="272" y="540"/>
                  </a:lnTo>
                  <a:lnTo>
                    <a:pt x="272" y="540"/>
                  </a:lnTo>
                  <a:lnTo>
                    <a:pt x="225" y="540"/>
                  </a:lnTo>
                  <a:lnTo>
                    <a:pt x="183" y="537"/>
                  </a:lnTo>
                  <a:lnTo>
                    <a:pt x="183" y="537"/>
                  </a:lnTo>
                  <a:lnTo>
                    <a:pt x="136" y="531"/>
                  </a:lnTo>
                  <a:lnTo>
                    <a:pt x="98" y="523"/>
                  </a:lnTo>
                  <a:lnTo>
                    <a:pt x="98" y="524"/>
                  </a:lnTo>
                  <a:lnTo>
                    <a:pt x="66" y="517"/>
                  </a:lnTo>
                  <a:lnTo>
                    <a:pt x="45" y="509"/>
                  </a:lnTo>
                  <a:lnTo>
                    <a:pt x="31" y="503"/>
                  </a:lnTo>
                  <a:lnTo>
                    <a:pt x="24" y="500"/>
                  </a:lnTo>
                  <a:lnTo>
                    <a:pt x="17" y="495"/>
                  </a:lnTo>
                  <a:lnTo>
                    <a:pt x="11" y="488"/>
                  </a:lnTo>
                  <a:lnTo>
                    <a:pt x="4" y="477"/>
                  </a:lnTo>
                  <a:lnTo>
                    <a:pt x="0" y="463"/>
                  </a:lnTo>
                  <a:lnTo>
                    <a:pt x="0" y="79"/>
                  </a:lnTo>
                  <a:lnTo>
                    <a:pt x="4" y="65"/>
                  </a:lnTo>
                  <a:lnTo>
                    <a:pt x="11" y="54"/>
                  </a:lnTo>
                  <a:lnTo>
                    <a:pt x="17" y="48"/>
                  </a:lnTo>
                  <a:lnTo>
                    <a:pt x="24" y="42"/>
                  </a:lnTo>
                  <a:lnTo>
                    <a:pt x="31" y="39"/>
                  </a:lnTo>
                  <a:lnTo>
                    <a:pt x="42" y="34"/>
                  </a:lnTo>
                  <a:lnTo>
                    <a:pt x="61" y="27"/>
                  </a:lnTo>
                  <a:lnTo>
                    <a:pt x="86" y="20"/>
                  </a:lnTo>
                  <a:lnTo>
                    <a:pt x="119" y="13"/>
                  </a:lnTo>
                  <a:lnTo>
                    <a:pt x="161" y="6"/>
                  </a:lnTo>
                  <a:lnTo>
                    <a:pt x="211" y="2"/>
                  </a:lnTo>
                  <a:lnTo>
                    <a:pt x="2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grpSp>
      <p:grpSp>
        <p:nvGrpSpPr>
          <p:cNvPr id="59" name="Group 58"/>
          <p:cNvGrpSpPr>
            <a:grpSpLocks noChangeAspect="1"/>
          </p:cNvGrpSpPr>
          <p:nvPr/>
        </p:nvGrpSpPr>
        <p:grpSpPr>
          <a:xfrm>
            <a:off x="10209904" y="4918928"/>
            <a:ext cx="319387" cy="212730"/>
            <a:chOff x="4046538" y="2912536"/>
            <a:chExt cx="869950" cy="579437"/>
          </a:xfrm>
          <a:solidFill>
            <a:schemeClr val="tx1"/>
          </a:solidFill>
        </p:grpSpPr>
        <p:sp>
          <p:nvSpPr>
            <p:cNvPr id="60" name="Freeform 225"/>
            <p:cNvSpPr>
              <a:spLocks noEditPoints="1"/>
            </p:cNvSpPr>
            <p:nvPr/>
          </p:nvSpPr>
          <p:spPr bwMode="auto">
            <a:xfrm>
              <a:off x="4171950" y="3041123"/>
              <a:ext cx="744538" cy="450850"/>
            </a:xfrm>
            <a:custGeom>
              <a:avLst/>
              <a:gdLst>
                <a:gd name="T0" fmla="*/ 235 w 469"/>
                <a:gd name="T1" fmla="*/ 22 h 284"/>
                <a:gd name="T2" fmla="*/ 202 w 469"/>
                <a:gd name="T3" fmla="*/ 26 h 284"/>
                <a:gd name="T4" fmla="*/ 174 w 469"/>
                <a:gd name="T5" fmla="*/ 38 h 284"/>
                <a:gd name="T6" fmla="*/ 150 w 469"/>
                <a:gd name="T7" fmla="*/ 57 h 284"/>
                <a:gd name="T8" fmla="*/ 131 w 469"/>
                <a:gd name="T9" fmla="*/ 82 h 284"/>
                <a:gd name="T10" fmla="*/ 120 w 469"/>
                <a:gd name="T11" fmla="*/ 110 h 284"/>
                <a:gd name="T12" fmla="*/ 115 w 469"/>
                <a:gd name="T13" fmla="*/ 141 h 284"/>
                <a:gd name="T14" fmla="*/ 120 w 469"/>
                <a:gd name="T15" fmla="*/ 174 h 284"/>
                <a:gd name="T16" fmla="*/ 131 w 469"/>
                <a:gd name="T17" fmla="*/ 202 h 284"/>
                <a:gd name="T18" fmla="*/ 150 w 469"/>
                <a:gd name="T19" fmla="*/ 227 h 284"/>
                <a:gd name="T20" fmla="*/ 174 w 469"/>
                <a:gd name="T21" fmla="*/ 246 h 284"/>
                <a:gd name="T22" fmla="*/ 202 w 469"/>
                <a:gd name="T23" fmla="*/ 258 h 284"/>
                <a:gd name="T24" fmla="*/ 235 w 469"/>
                <a:gd name="T25" fmla="*/ 261 h 284"/>
                <a:gd name="T26" fmla="*/ 267 w 469"/>
                <a:gd name="T27" fmla="*/ 258 h 284"/>
                <a:gd name="T28" fmla="*/ 295 w 469"/>
                <a:gd name="T29" fmla="*/ 246 h 284"/>
                <a:gd name="T30" fmla="*/ 319 w 469"/>
                <a:gd name="T31" fmla="*/ 227 h 284"/>
                <a:gd name="T32" fmla="*/ 338 w 469"/>
                <a:gd name="T33" fmla="*/ 202 h 284"/>
                <a:gd name="T34" fmla="*/ 351 w 469"/>
                <a:gd name="T35" fmla="*/ 174 h 284"/>
                <a:gd name="T36" fmla="*/ 354 w 469"/>
                <a:gd name="T37" fmla="*/ 141 h 284"/>
                <a:gd name="T38" fmla="*/ 351 w 469"/>
                <a:gd name="T39" fmla="*/ 110 h 284"/>
                <a:gd name="T40" fmla="*/ 338 w 469"/>
                <a:gd name="T41" fmla="*/ 82 h 284"/>
                <a:gd name="T42" fmla="*/ 319 w 469"/>
                <a:gd name="T43" fmla="*/ 57 h 284"/>
                <a:gd name="T44" fmla="*/ 295 w 469"/>
                <a:gd name="T45" fmla="*/ 38 h 284"/>
                <a:gd name="T46" fmla="*/ 267 w 469"/>
                <a:gd name="T47" fmla="*/ 26 h 284"/>
                <a:gd name="T48" fmla="*/ 235 w 469"/>
                <a:gd name="T49" fmla="*/ 22 h 284"/>
                <a:gd name="T50" fmla="*/ 12 w 469"/>
                <a:gd name="T51" fmla="*/ 0 h 284"/>
                <a:gd name="T52" fmla="*/ 457 w 469"/>
                <a:gd name="T53" fmla="*/ 0 h 284"/>
                <a:gd name="T54" fmla="*/ 462 w 469"/>
                <a:gd name="T55" fmla="*/ 0 h 284"/>
                <a:gd name="T56" fmla="*/ 466 w 469"/>
                <a:gd name="T57" fmla="*/ 3 h 284"/>
                <a:gd name="T58" fmla="*/ 469 w 469"/>
                <a:gd name="T59" fmla="*/ 7 h 284"/>
                <a:gd name="T60" fmla="*/ 469 w 469"/>
                <a:gd name="T61" fmla="*/ 12 h 284"/>
                <a:gd name="T62" fmla="*/ 469 w 469"/>
                <a:gd name="T63" fmla="*/ 272 h 284"/>
                <a:gd name="T64" fmla="*/ 469 w 469"/>
                <a:gd name="T65" fmla="*/ 275 h 284"/>
                <a:gd name="T66" fmla="*/ 466 w 469"/>
                <a:gd name="T67" fmla="*/ 281 h 284"/>
                <a:gd name="T68" fmla="*/ 462 w 469"/>
                <a:gd name="T69" fmla="*/ 282 h 284"/>
                <a:gd name="T70" fmla="*/ 457 w 469"/>
                <a:gd name="T71" fmla="*/ 284 h 284"/>
                <a:gd name="T72" fmla="*/ 12 w 469"/>
                <a:gd name="T73" fmla="*/ 284 h 284"/>
                <a:gd name="T74" fmla="*/ 8 w 469"/>
                <a:gd name="T75" fmla="*/ 282 h 284"/>
                <a:gd name="T76" fmla="*/ 3 w 469"/>
                <a:gd name="T77" fmla="*/ 281 h 284"/>
                <a:gd name="T78" fmla="*/ 1 w 469"/>
                <a:gd name="T79" fmla="*/ 275 h 284"/>
                <a:gd name="T80" fmla="*/ 0 w 469"/>
                <a:gd name="T81" fmla="*/ 272 h 284"/>
                <a:gd name="T82" fmla="*/ 0 w 469"/>
                <a:gd name="T83" fmla="*/ 12 h 284"/>
                <a:gd name="T84" fmla="*/ 1 w 469"/>
                <a:gd name="T85" fmla="*/ 7 h 284"/>
                <a:gd name="T86" fmla="*/ 3 w 469"/>
                <a:gd name="T87" fmla="*/ 3 h 284"/>
                <a:gd name="T88" fmla="*/ 8 w 469"/>
                <a:gd name="T89" fmla="*/ 0 h 284"/>
                <a:gd name="T90" fmla="*/ 12 w 469"/>
                <a:gd name="T91"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9" h="284">
                  <a:moveTo>
                    <a:pt x="235" y="22"/>
                  </a:moveTo>
                  <a:lnTo>
                    <a:pt x="202" y="26"/>
                  </a:lnTo>
                  <a:lnTo>
                    <a:pt x="174" y="38"/>
                  </a:lnTo>
                  <a:lnTo>
                    <a:pt x="150" y="57"/>
                  </a:lnTo>
                  <a:lnTo>
                    <a:pt x="131" y="82"/>
                  </a:lnTo>
                  <a:lnTo>
                    <a:pt x="120" y="110"/>
                  </a:lnTo>
                  <a:lnTo>
                    <a:pt x="115" y="141"/>
                  </a:lnTo>
                  <a:lnTo>
                    <a:pt x="120" y="174"/>
                  </a:lnTo>
                  <a:lnTo>
                    <a:pt x="131" y="202"/>
                  </a:lnTo>
                  <a:lnTo>
                    <a:pt x="150" y="227"/>
                  </a:lnTo>
                  <a:lnTo>
                    <a:pt x="174" y="246"/>
                  </a:lnTo>
                  <a:lnTo>
                    <a:pt x="202" y="258"/>
                  </a:lnTo>
                  <a:lnTo>
                    <a:pt x="235" y="261"/>
                  </a:lnTo>
                  <a:lnTo>
                    <a:pt x="267" y="258"/>
                  </a:lnTo>
                  <a:lnTo>
                    <a:pt x="295" y="246"/>
                  </a:lnTo>
                  <a:lnTo>
                    <a:pt x="319" y="227"/>
                  </a:lnTo>
                  <a:lnTo>
                    <a:pt x="338" y="202"/>
                  </a:lnTo>
                  <a:lnTo>
                    <a:pt x="351" y="174"/>
                  </a:lnTo>
                  <a:lnTo>
                    <a:pt x="354" y="141"/>
                  </a:lnTo>
                  <a:lnTo>
                    <a:pt x="351" y="110"/>
                  </a:lnTo>
                  <a:lnTo>
                    <a:pt x="338" y="82"/>
                  </a:lnTo>
                  <a:lnTo>
                    <a:pt x="319" y="57"/>
                  </a:lnTo>
                  <a:lnTo>
                    <a:pt x="295" y="38"/>
                  </a:lnTo>
                  <a:lnTo>
                    <a:pt x="267" y="26"/>
                  </a:lnTo>
                  <a:lnTo>
                    <a:pt x="235" y="22"/>
                  </a:lnTo>
                  <a:close/>
                  <a:moveTo>
                    <a:pt x="12" y="0"/>
                  </a:moveTo>
                  <a:lnTo>
                    <a:pt x="457" y="0"/>
                  </a:lnTo>
                  <a:lnTo>
                    <a:pt x="462" y="0"/>
                  </a:lnTo>
                  <a:lnTo>
                    <a:pt x="466" y="3"/>
                  </a:lnTo>
                  <a:lnTo>
                    <a:pt x="469" y="7"/>
                  </a:lnTo>
                  <a:lnTo>
                    <a:pt x="469" y="12"/>
                  </a:lnTo>
                  <a:lnTo>
                    <a:pt x="469" y="272"/>
                  </a:lnTo>
                  <a:lnTo>
                    <a:pt x="469" y="275"/>
                  </a:lnTo>
                  <a:lnTo>
                    <a:pt x="466" y="281"/>
                  </a:lnTo>
                  <a:lnTo>
                    <a:pt x="462" y="282"/>
                  </a:lnTo>
                  <a:lnTo>
                    <a:pt x="457" y="284"/>
                  </a:lnTo>
                  <a:lnTo>
                    <a:pt x="12" y="284"/>
                  </a:lnTo>
                  <a:lnTo>
                    <a:pt x="8" y="282"/>
                  </a:lnTo>
                  <a:lnTo>
                    <a:pt x="3" y="281"/>
                  </a:lnTo>
                  <a:lnTo>
                    <a:pt x="1" y="275"/>
                  </a:lnTo>
                  <a:lnTo>
                    <a:pt x="0" y="272"/>
                  </a:lnTo>
                  <a:lnTo>
                    <a:pt x="0" y="12"/>
                  </a:lnTo>
                  <a:lnTo>
                    <a:pt x="1" y="7"/>
                  </a:lnTo>
                  <a:lnTo>
                    <a:pt x="3" y="3"/>
                  </a:lnTo>
                  <a:lnTo>
                    <a:pt x="8"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61" name="Freeform 226"/>
            <p:cNvSpPr>
              <a:spLocks noEditPoints="1"/>
            </p:cNvSpPr>
            <p:nvPr/>
          </p:nvSpPr>
          <p:spPr bwMode="auto">
            <a:xfrm>
              <a:off x="4462463" y="3104623"/>
              <a:ext cx="174625" cy="319088"/>
            </a:xfrm>
            <a:custGeom>
              <a:avLst/>
              <a:gdLst>
                <a:gd name="T0" fmla="*/ 65 w 110"/>
                <a:gd name="T1" fmla="*/ 155 h 201"/>
                <a:gd name="T2" fmla="*/ 73 w 110"/>
                <a:gd name="T3" fmla="*/ 152 h 201"/>
                <a:gd name="T4" fmla="*/ 79 w 110"/>
                <a:gd name="T5" fmla="*/ 141 h 201"/>
                <a:gd name="T6" fmla="*/ 80 w 110"/>
                <a:gd name="T7" fmla="*/ 131 h 201"/>
                <a:gd name="T8" fmla="*/ 75 w 110"/>
                <a:gd name="T9" fmla="*/ 122 h 201"/>
                <a:gd name="T10" fmla="*/ 65 w 110"/>
                <a:gd name="T11" fmla="*/ 115 h 201"/>
                <a:gd name="T12" fmla="*/ 40 w 110"/>
                <a:gd name="T13" fmla="*/ 43 h 201"/>
                <a:gd name="T14" fmla="*/ 33 w 110"/>
                <a:gd name="T15" fmla="*/ 49 h 201"/>
                <a:gd name="T16" fmla="*/ 30 w 110"/>
                <a:gd name="T17" fmla="*/ 56 h 201"/>
                <a:gd name="T18" fmla="*/ 30 w 110"/>
                <a:gd name="T19" fmla="*/ 68 h 201"/>
                <a:gd name="T20" fmla="*/ 37 w 110"/>
                <a:gd name="T21" fmla="*/ 77 h 201"/>
                <a:gd name="T22" fmla="*/ 44 w 110"/>
                <a:gd name="T23" fmla="*/ 43 h 201"/>
                <a:gd name="T24" fmla="*/ 59 w 110"/>
                <a:gd name="T25" fmla="*/ 0 h 201"/>
                <a:gd name="T26" fmla="*/ 65 w 110"/>
                <a:gd name="T27" fmla="*/ 5 h 201"/>
                <a:gd name="T28" fmla="*/ 65 w 110"/>
                <a:gd name="T29" fmla="*/ 17 h 201"/>
                <a:gd name="T30" fmla="*/ 98 w 110"/>
                <a:gd name="T31" fmla="*/ 31 h 201"/>
                <a:gd name="T32" fmla="*/ 103 w 110"/>
                <a:gd name="T33" fmla="*/ 38 h 201"/>
                <a:gd name="T34" fmla="*/ 103 w 110"/>
                <a:gd name="T35" fmla="*/ 47 h 201"/>
                <a:gd name="T36" fmla="*/ 98 w 110"/>
                <a:gd name="T37" fmla="*/ 54 h 201"/>
                <a:gd name="T38" fmla="*/ 91 w 110"/>
                <a:gd name="T39" fmla="*/ 57 h 201"/>
                <a:gd name="T40" fmla="*/ 84 w 110"/>
                <a:gd name="T41" fmla="*/ 54 h 201"/>
                <a:gd name="T42" fmla="*/ 75 w 110"/>
                <a:gd name="T43" fmla="*/ 47 h 201"/>
                <a:gd name="T44" fmla="*/ 65 w 110"/>
                <a:gd name="T45" fmla="*/ 43 h 201"/>
                <a:gd name="T46" fmla="*/ 82 w 110"/>
                <a:gd name="T47" fmla="*/ 92 h 201"/>
                <a:gd name="T48" fmla="*/ 107 w 110"/>
                <a:gd name="T49" fmla="*/ 117 h 201"/>
                <a:gd name="T50" fmla="*/ 107 w 110"/>
                <a:gd name="T51" fmla="*/ 152 h 201"/>
                <a:gd name="T52" fmla="*/ 84 w 110"/>
                <a:gd name="T53" fmla="*/ 176 h 201"/>
                <a:gd name="T54" fmla="*/ 65 w 110"/>
                <a:gd name="T55" fmla="*/ 188 h 201"/>
                <a:gd name="T56" fmla="*/ 63 w 110"/>
                <a:gd name="T57" fmla="*/ 195 h 201"/>
                <a:gd name="T58" fmla="*/ 58 w 110"/>
                <a:gd name="T59" fmla="*/ 199 h 201"/>
                <a:gd name="T60" fmla="*/ 49 w 110"/>
                <a:gd name="T61" fmla="*/ 201 h 201"/>
                <a:gd name="T62" fmla="*/ 44 w 110"/>
                <a:gd name="T63" fmla="*/ 195 h 201"/>
                <a:gd name="T64" fmla="*/ 44 w 110"/>
                <a:gd name="T65" fmla="*/ 188 h 201"/>
                <a:gd name="T66" fmla="*/ 21 w 110"/>
                <a:gd name="T67" fmla="*/ 174 h 201"/>
                <a:gd name="T68" fmla="*/ 2 w 110"/>
                <a:gd name="T69" fmla="*/ 160 h 201"/>
                <a:gd name="T70" fmla="*/ 0 w 110"/>
                <a:gd name="T71" fmla="*/ 155 h 201"/>
                <a:gd name="T72" fmla="*/ 2 w 110"/>
                <a:gd name="T73" fmla="*/ 148 h 201"/>
                <a:gd name="T74" fmla="*/ 9 w 110"/>
                <a:gd name="T75" fmla="*/ 141 h 201"/>
                <a:gd name="T76" fmla="*/ 17 w 110"/>
                <a:gd name="T77" fmla="*/ 141 h 201"/>
                <a:gd name="T78" fmla="*/ 23 w 110"/>
                <a:gd name="T79" fmla="*/ 145 h 201"/>
                <a:gd name="T80" fmla="*/ 31 w 110"/>
                <a:gd name="T81" fmla="*/ 152 h 201"/>
                <a:gd name="T82" fmla="*/ 44 w 110"/>
                <a:gd name="T83" fmla="*/ 155 h 201"/>
                <a:gd name="T84" fmla="*/ 30 w 110"/>
                <a:gd name="T85" fmla="*/ 104 h 201"/>
                <a:gd name="T86" fmla="*/ 9 w 110"/>
                <a:gd name="T87" fmla="*/ 89 h 201"/>
                <a:gd name="T88" fmla="*/ 0 w 110"/>
                <a:gd name="T89" fmla="*/ 63 h 201"/>
                <a:gd name="T90" fmla="*/ 11 w 110"/>
                <a:gd name="T91" fmla="*/ 33 h 201"/>
                <a:gd name="T92" fmla="*/ 44 w 110"/>
                <a:gd name="T93" fmla="*/ 17 h 201"/>
                <a:gd name="T94" fmla="*/ 44 w 110"/>
                <a:gd name="T95" fmla="*/ 5 h 201"/>
                <a:gd name="T96" fmla="*/ 49 w 110"/>
                <a:gd name="T9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201">
                  <a:moveTo>
                    <a:pt x="65" y="115"/>
                  </a:moveTo>
                  <a:lnTo>
                    <a:pt x="65" y="155"/>
                  </a:lnTo>
                  <a:lnTo>
                    <a:pt x="68" y="153"/>
                  </a:lnTo>
                  <a:lnTo>
                    <a:pt x="73" y="152"/>
                  </a:lnTo>
                  <a:lnTo>
                    <a:pt x="77" y="146"/>
                  </a:lnTo>
                  <a:lnTo>
                    <a:pt x="79" y="141"/>
                  </a:lnTo>
                  <a:lnTo>
                    <a:pt x="80" y="136"/>
                  </a:lnTo>
                  <a:lnTo>
                    <a:pt x="80" y="131"/>
                  </a:lnTo>
                  <a:lnTo>
                    <a:pt x="79" y="125"/>
                  </a:lnTo>
                  <a:lnTo>
                    <a:pt x="75" y="122"/>
                  </a:lnTo>
                  <a:lnTo>
                    <a:pt x="70" y="118"/>
                  </a:lnTo>
                  <a:lnTo>
                    <a:pt x="65" y="115"/>
                  </a:lnTo>
                  <a:close/>
                  <a:moveTo>
                    <a:pt x="44" y="43"/>
                  </a:moveTo>
                  <a:lnTo>
                    <a:pt x="40" y="43"/>
                  </a:lnTo>
                  <a:lnTo>
                    <a:pt x="37" y="45"/>
                  </a:lnTo>
                  <a:lnTo>
                    <a:pt x="33" y="49"/>
                  </a:lnTo>
                  <a:lnTo>
                    <a:pt x="31" y="52"/>
                  </a:lnTo>
                  <a:lnTo>
                    <a:pt x="30" y="56"/>
                  </a:lnTo>
                  <a:lnTo>
                    <a:pt x="30" y="61"/>
                  </a:lnTo>
                  <a:lnTo>
                    <a:pt x="30" y="68"/>
                  </a:lnTo>
                  <a:lnTo>
                    <a:pt x="33" y="73"/>
                  </a:lnTo>
                  <a:lnTo>
                    <a:pt x="37" y="77"/>
                  </a:lnTo>
                  <a:lnTo>
                    <a:pt x="44" y="78"/>
                  </a:lnTo>
                  <a:lnTo>
                    <a:pt x="44" y="43"/>
                  </a:lnTo>
                  <a:close/>
                  <a:moveTo>
                    <a:pt x="54" y="0"/>
                  </a:moveTo>
                  <a:lnTo>
                    <a:pt x="59" y="0"/>
                  </a:lnTo>
                  <a:lnTo>
                    <a:pt x="63" y="1"/>
                  </a:lnTo>
                  <a:lnTo>
                    <a:pt x="65" y="5"/>
                  </a:lnTo>
                  <a:lnTo>
                    <a:pt x="65" y="12"/>
                  </a:lnTo>
                  <a:lnTo>
                    <a:pt x="65" y="17"/>
                  </a:lnTo>
                  <a:lnTo>
                    <a:pt x="84" y="22"/>
                  </a:lnTo>
                  <a:lnTo>
                    <a:pt x="98" y="31"/>
                  </a:lnTo>
                  <a:lnTo>
                    <a:pt x="101" y="35"/>
                  </a:lnTo>
                  <a:lnTo>
                    <a:pt x="103" y="38"/>
                  </a:lnTo>
                  <a:lnTo>
                    <a:pt x="105" y="43"/>
                  </a:lnTo>
                  <a:lnTo>
                    <a:pt x="103" y="47"/>
                  </a:lnTo>
                  <a:lnTo>
                    <a:pt x="101" y="50"/>
                  </a:lnTo>
                  <a:lnTo>
                    <a:pt x="98" y="54"/>
                  </a:lnTo>
                  <a:lnTo>
                    <a:pt x="94" y="57"/>
                  </a:lnTo>
                  <a:lnTo>
                    <a:pt x="91" y="57"/>
                  </a:lnTo>
                  <a:lnTo>
                    <a:pt x="86" y="57"/>
                  </a:lnTo>
                  <a:lnTo>
                    <a:pt x="84" y="54"/>
                  </a:lnTo>
                  <a:lnTo>
                    <a:pt x="80" y="52"/>
                  </a:lnTo>
                  <a:lnTo>
                    <a:pt x="75" y="47"/>
                  </a:lnTo>
                  <a:lnTo>
                    <a:pt x="68" y="43"/>
                  </a:lnTo>
                  <a:lnTo>
                    <a:pt x="65" y="43"/>
                  </a:lnTo>
                  <a:lnTo>
                    <a:pt x="65" y="85"/>
                  </a:lnTo>
                  <a:lnTo>
                    <a:pt x="82" y="92"/>
                  </a:lnTo>
                  <a:lnTo>
                    <a:pt x="96" y="103"/>
                  </a:lnTo>
                  <a:lnTo>
                    <a:pt x="107" y="117"/>
                  </a:lnTo>
                  <a:lnTo>
                    <a:pt x="110" y="134"/>
                  </a:lnTo>
                  <a:lnTo>
                    <a:pt x="107" y="152"/>
                  </a:lnTo>
                  <a:lnTo>
                    <a:pt x="98" y="166"/>
                  </a:lnTo>
                  <a:lnTo>
                    <a:pt x="84" y="176"/>
                  </a:lnTo>
                  <a:lnTo>
                    <a:pt x="65" y="180"/>
                  </a:lnTo>
                  <a:lnTo>
                    <a:pt x="65" y="188"/>
                  </a:lnTo>
                  <a:lnTo>
                    <a:pt x="65" y="192"/>
                  </a:lnTo>
                  <a:lnTo>
                    <a:pt x="63" y="195"/>
                  </a:lnTo>
                  <a:lnTo>
                    <a:pt x="61" y="199"/>
                  </a:lnTo>
                  <a:lnTo>
                    <a:pt x="58" y="199"/>
                  </a:lnTo>
                  <a:lnTo>
                    <a:pt x="54" y="201"/>
                  </a:lnTo>
                  <a:lnTo>
                    <a:pt x="49" y="201"/>
                  </a:lnTo>
                  <a:lnTo>
                    <a:pt x="45" y="199"/>
                  </a:lnTo>
                  <a:lnTo>
                    <a:pt x="44" y="195"/>
                  </a:lnTo>
                  <a:lnTo>
                    <a:pt x="44" y="192"/>
                  </a:lnTo>
                  <a:lnTo>
                    <a:pt x="44" y="188"/>
                  </a:lnTo>
                  <a:lnTo>
                    <a:pt x="44" y="180"/>
                  </a:lnTo>
                  <a:lnTo>
                    <a:pt x="21" y="174"/>
                  </a:lnTo>
                  <a:lnTo>
                    <a:pt x="4" y="164"/>
                  </a:lnTo>
                  <a:lnTo>
                    <a:pt x="2" y="160"/>
                  </a:lnTo>
                  <a:lnTo>
                    <a:pt x="0" y="159"/>
                  </a:lnTo>
                  <a:lnTo>
                    <a:pt x="0" y="155"/>
                  </a:lnTo>
                  <a:lnTo>
                    <a:pt x="0" y="152"/>
                  </a:lnTo>
                  <a:lnTo>
                    <a:pt x="2" y="148"/>
                  </a:lnTo>
                  <a:lnTo>
                    <a:pt x="5" y="145"/>
                  </a:lnTo>
                  <a:lnTo>
                    <a:pt x="9" y="141"/>
                  </a:lnTo>
                  <a:lnTo>
                    <a:pt x="14" y="141"/>
                  </a:lnTo>
                  <a:lnTo>
                    <a:pt x="17" y="141"/>
                  </a:lnTo>
                  <a:lnTo>
                    <a:pt x="19" y="143"/>
                  </a:lnTo>
                  <a:lnTo>
                    <a:pt x="23" y="145"/>
                  </a:lnTo>
                  <a:lnTo>
                    <a:pt x="26" y="148"/>
                  </a:lnTo>
                  <a:lnTo>
                    <a:pt x="31" y="152"/>
                  </a:lnTo>
                  <a:lnTo>
                    <a:pt x="37" y="153"/>
                  </a:lnTo>
                  <a:lnTo>
                    <a:pt x="44" y="155"/>
                  </a:lnTo>
                  <a:lnTo>
                    <a:pt x="44" y="110"/>
                  </a:lnTo>
                  <a:lnTo>
                    <a:pt x="30" y="104"/>
                  </a:lnTo>
                  <a:lnTo>
                    <a:pt x="17" y="98"/>
                  </a:lnTo>
                  <a:lnTo>
                    <a:pt x="9" y="89"/>
                  </a:lnTo>
                  <a:lnTo>
                    <a:pt x="2" y="78"/>
                  </a:lnTo>
                  <a:lnTo>
                    <a:pt x="0" y="63"/>
                  </a:lnTo>
                  <a:lnTo>
                    <a:pt x="2" y="45"/>
                  </a:lnTo>
                  <a:lnTo>
                    <a:pt x="11" y="33"/>
                  </a:lnTo>
                  <a:lnTo>
                    <a:pt x="24" y="22"/>
                  </a:lnTo>
                  <a:lnTo>
                    <a:pt x="44" y="17"/>
                  </a:lnTo>
                  <a:lnTo>
                    <a:pt x="44" y="12"/>
                  </a:lnTo>
                  <a:lnTo>
                    <a:pt x="44" y="5"/>
                  </a:lnTo>
                  <a:lnTo>
                    <a:pt x="45" y="1"/>
                  </a:lnTo>
                  <a:lnTo>
                    <a:pt x="49" y="0"/>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62" name="Freeform 227"/>
            <p:cNvSpPr>
              <a:spLocks/>
            </p:cNvSpPr>
            <p:nvPr/>
          </p:nvSpPr>
          <p:spPr bwMode="auto">
            <a:xfrm>
              <a:off x="4046538" y="2912536"/>
              <a:ext cx="742950" cy="452438"/>
            </a:xfrm>
            <a:custGeom>
              <a:avLst/>
              <a:gdLst>
                <a:gd name="T0" fmla="*/ 11 w 468"/>
                <a:gd name="T1" fmla="*/ 0 h 285"/>
                <a:gd name="T2" fmla="*/ 458 w 468"/>
                <a:gd name="T3" fmla="*/ 0 h 285"/>
                <a:gd name="T4" fmla="*/ 461 w 468"/>
                <a:gd name="T5" fmla="*/ 2 h 285"/>
                <a:gd name="T6" fmla="*/ 465 w 468"/>
                <a:gd name="T7" fmla="*/ 4 h 285"/>
                <a:gd name="T8" fmla="*/ 468 w 468"/>
                <a:gd name="T9" fmla="*/ 7 h 285"/>
                <a:gd name="T10" fmla="*/ 468 w 468"/>
                <a:gd name="T11" fmla="*/ 12 h 285"/>
                <a:gd name="T12" fmla="*/ 468 w 468"/>
                <a:gd name="T13" fmla="*/ 44 h 285"/>
                <a:gd name="T14" fmla="*/ 91 w 468"/>
                <a:gd name="T15" fmla="*/ 44 h 285"/>
                <a:gd name="T16" fmla="*/ 91 w 468"/>
                <a:gd name="T17" fmla="*/ 44 h 285"/>
                <a:gd name="T18" fmla="*/ 61 w 468"/>
                <a:gd name="T19" fmla="*/ 44 h 285"/>
                <a:gd name="T20" fmla="*/ 59 w 468"/>
                <a:gd name="T21" fmla="*/ 44 h 285"/>
                <a:gd name="T22" fmla="*/ 54 w 468"/>
                <a:gd name="T23" fmla="*/ 46 h 285"/>
                <a:gd name="T24" fmla="*/ 49 w 468"/>
                <a:gd name="T25" fmla="*/ 47 h 285"/>
                <a:gd name="T26" fmla="*/ 47 w 468"/>
                <a:gd name="T27" fmla="*/ 49 h 285"/>
                <a:gd name="T28" fmla="*/ 44 w 468"/>
                <a:gd name="T29" fmla="*/ 54 h 285"/>
                <a:gd name="T30" fmla="*/ 44 w 468"/>
                <a:gd name="T31" fmla="*/ 60 h 285"/>
                <a:gd name="T32" fmla="*/ 44 w 468"/>
                <a:gd name="T33" fmla="*/ 60 h 285"/>
                <a:gd name="T34" fmla="*/ 44 w 468"/>
                <a:gd name="T35" fmla="*/ 60 h 285"/>
                <a:gd name="T36" fmla="*/ 44 w 468"/>
                <a:gd name="T37" fmla="*/ 88 h 285"/>
                <a:gd name="T38" fmla="*/ 44 w 468"/>
                <a:gd name="T39" fmla="*/ 93 h 285"/>
                <a:gd name="T40" fmla="*/ 44 w 468"/>
                <a:gd name="T41" fmla="*/ 285 h 285"/>
                <a:gd name="T42" fmla="*/ 11 w 468"/>
                <a:gd name="T43" fmla="*/ 285 h 285"/>
                <a:gd name="T44" fmla="*/ 7 w 468"/>
                <a:gd name="T45" fmla="*/ 283 h 285"/>
                <a:gd name="T46" fmla="*/ 4 w 468"/>
                <a:gd name="T47" fmla="*/ 281 h 285"/>
                <a:gd name="T48" fmla="*/ 0 w 468"/>
                <a:gd name="T49" fmla="*/ 278 h 285"/>
                <a:gd name="T50" fmla="*/ 0 w 468"/>
                <a:gd name="T51" fmla="*/ 273 h 285"/>
                <a:gd name="T52" fmla="*/ 0 w 468"/>
                <a:gd name="T53" fmla="*/ 12 h 285"/>
                <a:gd name="T54" fmla="*/ 0 w 468"/>
                <a:gd name="T55" fmla="*/ 7 h 285"/>
                <a:gd name="T56" fmla="*/ 4 w 468"/>
                <a:gd name="T57" fmla="*/ 4 h 285"/>
                <a:gd name="T58" fmla="*/ 7 w 468"/>
                <a:gd name="T59" fmla="*/ 2 h 285"/>
                <a:gd name="T60" fmla="*/ 11 w 468"/>
                <a:gd name="T61"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8" h="285">
                  <a:moveTo>
                    <a:pt x="11" y="0"/>
                  </a:moveTo>
                  <a:lnTo>
                    <a:pt x="458" y="0"/>
                  </a:lnTo>
                  <a:lnTo>
                    <a:pt x="461" y="2"/>
                  </a:lnTo>
                  <a:lnTo>
                    <a:pt x="465" y="4"/>
                  </a:lnTo>
                  <a:lnTo>
                    <a:pt x="468" y="7"/>
                  </a:lnTo>
                  <a:lnTo>
                    <a:pt x="468" y="12"/>
                  </a:lnTo>
                  <a:lnTo>
                    <a:pt x="468" y="44"/>
                  </a:lnTo>
                  <a:lnTo>
                    <a:pt x="91" y="44"/>
                  </a:lnTo>
                  <a:lnTo>
                    <a:pt x="91" y="44"/>
                  </a:lnTo>
                  <a:lnTo>
                    <a:pt x="61" y="44"/>
                  </a:lnTo>
                  <a:lnTo>
                    <a:pt x="59" y="44"/>
                  </a:lnTo>
                  <a:lnTo>
                    <a:pt x="54" y="46"/>
                  </a:lnTo>
                  <a:lnTo>
                    <a:pt x="49" y="47"/>
                  </a:lnTo>
                  <a:lnTo>
                    <a:pt x="47" y="49"/>
                  </a:lnTo>
                  <a:lnTo>
                    <a:pt x="44" y="54"/>
                  </a:lnTo>
                  <a:lnTo>
                    <a:pt x="44" y="60"/>
                  </a:lnTo>
                  <a:lnTo>
                    <a:pt x="44" y="60"/>
                  </a:lnTo>
                  <a:lnTo>
                    <a:pt x="44" y="60"/>
                  </a:lnTo>
                  <a:lnTo>
                    <a:pt x="44" y="88"/>
                  </a:lnTo>
                  <a:lnTo>
                    <a:pt x="44" y="93"/>
                  </a:lnTo>
                  <a:lnTo>
                    <a:pt x="44" y="285"/>
                  </a:lnTo>
                  <a:lnTo>
                    <a:pt x="11" y="285"/>
                  </a:lnTo>
                  <a:lnTo>
                    <a:pt x="7" y="283"/>
                  </a:lnTo>
                  <a:lnTo>
                    <a:pt x="4" y="281"/>
                  </a:lnTo>
                  <a:lnTo>
                    <a:pt x="0" y="278"/>
                  </a:lnTo>
                  <a:lnTo>
                    <a:pt x="0" y="273"/>
                  </a:lnTo>
                  <a:lnTo>
                    <a:pt x="0" y="12"/>
                  </a:lnTo>
                  <a:lnTo>
                    <a:pt x="0" y="7"/>
                  </a:lnTo>
                  <a:lnTo>
                    <a:pt x="4" y="4"/>
                  </a:lnTo>
                  <a:lnTo>
                    <a:pt x="7" y="2"/>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grpSp>
      <p:grpSp>
        <p:nvGrpSpPr>
          <p:cNvPr id="63" name="Group 62"/>
          <p:cNvGrpSpPr>
            <a:grpSpLocks noChangeAspect="1"/>
          </p:cNvGrpSpPr>
          <p:nvPr/>
        </p:nvGrpSpPr>
        <p:grpSpPr>
          <a:xfrm>
            <a:off x="3325729" y="905630"/>
            <a:ext cx="197532" cy="198279"/>
            <a:chOff x="2073275" y="2765162"/>
            <a:chExt cx="839788" cy="842962"/>
          </a:xfrm>
          <a:solidFill>
            <a:schemeClr val="tx1"/>
          </a:solidFill>
        </p:grpSpPr>
        <p:sp>
          <p:nvSpPr>
            <p:cNvPr id="64" name="Freeform 245"/>
            <p:cNvSpPr>
              <a:spLocks/>
            </p:cNvSpPr>
            <p:nvPr/>
          </p:nvSpPr>
          <p:spPr bwMode="auto">
            <a:xfrm>
              <a:off x="2330450" y="2976299"/>
              <a:ext cx="582613" cy="631825"/>
            </a:xfrm>
            <a:custGeom>
              <a:avLst/>
              <a:gdLst>
                <a:gd name="T0" fmla="*/ 126 w 367"/>
                <a:gd name="T1" fmla="*/ 0 h 398"/>
                <a:gd name="T2" fmla="*/ 138 w 367"/>
                <a:gd name="T3" fmla="*/ 5 h 398"/>
                <a:gd name="T4" fmla="*/ 140 w 367"/>
                <a:gd name="T5" fmla="*/ 7 h 398"/>
                <a:gd name="T6" fmla="*/ 145 w 367"/>
                <a:gd name="T7" fmla="*/ 10 h 398"/>
                <a:gd name="T8" fmla="*/ 362 w 367"/>
                <a:gd name="T9" fmla="*/ 229 h 398"/>
                <a:gd name="T10" fmla="*/ 365 w 367"/>
                <a:gd name="T11" fmla="*/ 258 h 398"/>
                <a:gd name="T12" fmla="*/ 358 w 367"/>
                <a:gd name="T13" fmla="*/ 278 h 398"/>
                <a:gd name="T14" fmla="*/ 332 w 367"/>
                <a:gd name="T15" fmla="*/ 314 h 398"/>
                <a:gd name="T16" fmla="*/ 285 w 367"/>
                <a:gd name="T17" fmla="*/ 363 h 398"/>
                <a:gd name="T18" fmla="*/ 247 w 367"/>
                <a:gd name="T19" fmla="*/ 387 h 398"/>
                <a:gd name="T20" fmla="*/ 227 w 367"/>
                <a:gd name="T21" fmla="*/ 396 h 398"/>
                <a:gd name="T22" fmla="*/ 217 w 367"/>
                <a:gd name="T23" fmla="*/ 398 h 398"/>
                <a:gd name="T24" fmla="*/ 210 w 367"/>
                <a:gd name="T25" fmla="*/ 396 h 398"/>
                <a:gd name="T26" fmla="*/ 198 w 367"/>
                <a:gd name="T27" fmla="*/ 393 h 398"/>
                <a:gd name="T28" fmla="*/ 191 w 367"/>
                <a:gd name="T29" fmla="*/ 387 h 398"/>
                <a:gd name="T30" fmla="*/ 100 w 367"/>
                <a:gd name="T31" fmla="*/ 281 h 398"/>
                <a:gd name="T32" fmla="*/ 121 w 367"/>
                <a:gd name="T33" fmla="*/ 269 h 398"/>
                <a:gd name="T34" fmla="*/ 131 w 367"/>
                <a:gd name="T35" fmla="*/ 262 h 398"/>
                <a:gd name="T36" fmla="*/ 219 w 367"/>
                <a:gd name="T37" fmla="*/ 351 h 398"/>
                <a:gd name="T38" fmla="*/ 227 w 367"/>
                <a:gd name="T39" fmla="*/ 347 h 398"/>
                <a:gd name="T40" fmla="*/ 255 w 367"/>
                <a:gd name="T41" fmla="*/ 326 h 398"/>
                <a:gd name="T42" fmla="*/ 295 w 367"/>
                <a:gd name="T43" fmla="*/ 286 h 398"/>
                <a:gd name="T44" fmla="*/ 316 w 367"/>
                <a:gd name="T45" fmla="*/ 257 h 398"/>
                <a:gd name="T46" fmla="*/ 117 w 367"/>
                <a:gd name="T47" fmla="*/ 47 h 398"/>
                <a:gd name="T48" fmla="*/ 110 w 367"/>
                <a:gd name="T49" fmla="*/ 51 h 398"/>
                <a:gd name="T50" fmla="*/ 81 w 367"/>
                <a:gd name="T51" fmla="*/ 72 h 398"/>
                <a:gd name="T52" fmla="*/ 60 w 367"/>
                <a:gd name="T53" fmla="*/ 91 h 398"/>
                <a:gd name="T54" fmla="*/ 53 w 367"/>
                <a:gd name="T55" fmla="*/ 98 h 398"/>
                <a:gd name="T56" fmla="*/ 41 w 367"/>
                <a:gd name="T57" fmla="*/ 110 h 398"/>
                <a:gd name="T58" fmla="*/ 32 w 367"/>
                <a:gd name="T59" fmla="*/ 122 h 398"/>
                <a:gd name="T60" fmla="*/ 4 w 367"/>
                <a:gd name="T61" fmla="*/ 84 h 398"/>
                <a:gd name="T62" fmla="*/ 16 w 367"/>
                <a:gd name="T63" fmla="*/ 72 h 398"/>
                <a:gd name="T64" fmla="*/ 28 w 367"/>
                <a:gd name="T65" fmla="*/ 58 h 398"/>
                <a:gd name="T66" fmla="*/ 74 w 367"/>
                <a:gd name="T67" fmla="*/ 19 h 398"/>
                <a:gd name="T68" fmla="*/ 102 w 367"/>
                <a:gd name="T69" fmla="*/ 3 h 398"/>
                <a:gd name="T70" fmla="*/ 119 w 367"/>
                <a:gd name="T7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7" h="398">
                  <a:moveTo>
                    <a:pt x="119" y="0"/>
                  </a:moveTo>
                  <a:lnTo>
                    <a:pt x="126" y="0"/>
                  </a:lnTo>
                  <a:lnTo>
                    <a:pt x="133" y="2"/>
                  </a:lnTo>
                  <a:lnTo>
                    <a:pt x="138" y="5"/>
                  </a:lnTo>
                  <a:lnTo>
                    <a:pt x="140" y="7"/>
                  </a:lnTo>
                  <a:lnTo>
                    <a:pt x="140" y="7"/>
                  </a:lnTo>
                  <a:lnTo>
                    <a:pt x="144" y="9"/>
                  </a:lnTo>
                  <a:lnTo>
                    <a:pt x="145" y="10"/>
                  </a:lnTo>
                  <a:lnTo>
                    <a:pt x="357" y="222"/>
                  </a:lnTo>
                  <a:lnTo>
                    <a:pt x="362" y="229"/>
                  </a:lnTo>
                  <a:lnTo>
                    <a:pt x="367" y="241"/>
                  </a:lnTo>
                  <a:lnTo>
                    <a:pt x="365" y="258"/>
                  </a:lnTo>
                  <a:lnTo>
                    <a:pt x="364" y="265"/>
                  </a:lnTo>
                  <a:lnTo>
                    <a:pt x="358" y="278"/>
                  </a:lnTo>
                  <a:lnTo>
                    <a:pt x="348" y="295"/>
                  </a:lnTo>
                  <a:lnTo>
                    <a:pt x="332" y="314"/>
                  </a:lnTo>
                  <a:lnTo>
                    <a:pt x="309" y="340"/>
                  </a:lnTo>
                  <a:lnTo>
                    <a:pt x="285" y="363"/>
                  </a:lnTo>
                  <a:lnTo>
                    <a:pt x="264" y="379"/>
                  </a:lnTo>
                  <a:lnTo>
                    <a:pt x="247" y="387"/>
                  </a:lnTo>
                  <a:lnTo>
                    <a:pt x="234" y="394"/>
                  </a:lnTo>
                  <a:lnTo>
                    <a:pt x="227" y="396"/>
                  </a:lnTo>
                  <a:lnTo>
                    <a:pt x="222" y="396"/>
                  </a:lnTo>
                  <a:lnTo>
                    <a:pt x="217" y="398"/>
                  </a:lnTo>
                  <a:lnTo>
                    <a:pt x="217" y="398"/>
                  </a:lnTo>
                  <a:lnTo>
                    <a:pt x="210" y="396"/>
                  </a:lnTo>
                  <a:lnTo>
                    <a:pt x="203" y="394"/>
                  </a:lnTo>
                  <a:lnTo>
                    <a:pt x="198" y="393"/>
                  </a:lnTo>
                  <a:lnTo>
                    <a:pt x="194" y="389"/>
                  </a:lnTo>
                  <a:lnTo>
                    <a:pt x="191" y="387"/>
                  </a:lnTo>
                  <a:lnTo>
                    <a:pt x="89" y="286"/>
                  </a:lnTo>
                  <a:lnTo>
                    <a:pt x="100" y="281"/>
                  </a:lnTo>
                  <a:lnTo>
                    <a:pt x="112" y="276"/>
                  </a:lnTo>
                  <a:lnTo>
                    <a:pt x="121" y="269"/>
                  </a:lnTo>
                  <a:lnTo>
                    <a:pt x="128" y="264"/>
                  </a:lnTo>
                  <a:lnTo>
                    <a:pt x="131" y="262"/>
                  </a:lnTo>
                  <a:lnTo>
                    <a:pt x="131" y="262"/>
                  </a:lnTo>
                  <a:lnTo>
                    <a:pt x="219" y="351"/>
                  </a:lnTo>
                  <a:lnTo>
                    <a:pt x="220" y="351"/>
                  </a:lnTo>
                  <a:lnTo>
                    <a:pt x="227" y="347"/>
                  </a:lnTo>
                  <a:lnTo>
                    <a:pt x="240" y="339"/>
                  </a:lnTo>
                  <a:lnTo>
                    <a:pt x="255" y="326"/>
                  </a:lnTo>
                  <a:lnTo>
                    <a:pt x="276" y="307"/>
                  </a:lnTo>
                  <a:lnTo>
                    <a:pt x="295" y="286"/>
                  </a:lnTo>
                  <a:lnTo>
                    <a:pt x="309" y="269"/>
                  </a:lnTo>
                  <a:lnTo>
                    <a:pt x="316" y="257"/>
                  </a:lnTo>
                  <a:lnTo>
                    <a:pt x="320" y="250"/>
                  </a:lnTo>
                  <a:lnTo>
                    <a:pt x="117" y="47"/>
                  </a:lnTo>
                  <a:lnTo>
                    <a:pt x="117" y="47"/>
                  </a:lnTo>
                  <a:lnTo>
                    <a:pt x="110" y="51"/>
                  </a:lnTo>
                  <a:lnTo>
                    <a:pt x="98" y="58"/>
                  </a:lnTo>
                  <a:lnTo>
                    <a:pt x="81" y="72"/>
                  </a:lnTo>
                  <a:lnTo>
                    <a:pt x="60" y="91"/>
                  </a:lnTo>
                  <a:lnTo>
                    <a:pt x="60" y="91"/>
                  </a:lnTo>
                  <a:lnTo>
                    <a:pt x="60" y="91"/>
                  </a:lnTo>
                  <a:lnTo>
                    <a:pt x="53" y="98"/>
                  </a:lnTo>
                  <a:lnTo>
                    <a:pt x="48" y="105"/>
                  </a:lnTo>
                  <a:lnTo>
                    <a:pt x="41" y="110"/>
                  </a:lnTo>
                  <a:lnTo>
                    <a:pt x="37" y="117"/>
                  </a:lnTo>
                  <a:lnTo>
                    <a:pt x="32" y="122"/>
                  </a:lnTo>
                  <a:lnTo>
                    <a:pt x="0" y="91"/>
                  </a:lnTo>
                  <a:lnTo>
                    <a:pt x="4" y="84"/>
                  </a:lnTo>
                  <a:lnTo>
                    <a:pt x="9" y="79"/>
                  </a:lnTo>
                  <a:lnTo>
                    <a:pt x="16" y="72"/>
                  </a:lnTo>
                  <a:lnTo>
                    <a:pt x="21" y="65"/>
                  </a:lnTo>
                  <a:lnTo>
                    <a:pt x="28" y="58"/>
                  </a:lnTo>
                  <a:lnTo>
                    <a:pt x="53" y="35"/>
                  </a:lnTo>
                  <a:lnTo>
                    <a:pt x="74" y="19"/>
                  </a:lnTo>
                  <a:lnTo>
                    <a:pt x="89" y="9"/>
                  </a:lnTo>
                  <a:lnTo>
                    <a:pt x="102" y="3"/>
                  </a:lnTo>
                  <a:lnTo>
                    <a:pt x="110" y="2"/>
                  </a:lnTo>
                  <a:lnTo>
                    <a:pt x="1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4"/>
                </a:solidFill>
              </a:endParaRPr>
            </a:p>
          </p:txBody>
        </p:sp>
        <p:sp>
          <p:nvSpPr>
            <p:cNvPr id="65" name="Freeform 246"/>
            <p:cNvSpPr>
              <a:spLocks/>
            </p:cNvSpPr>
            <p:nvPr/>
          </p:nvSpPr>
          <p:spPr bwMode="auto">
            <a:xfrm>
              <a:off x="2073275" y="2765162"/>
              <a:ext cx="554038" cy="608013"/>
            </a:xfrm>
            <a:custGeom>
              <a:avLst/>
              <a:gdLst>
                <a:gd name="T0" fmla="*/ 150 w 349"/>
                <a:gd name="T1" fmla="*/ 0 h 383"/>
                <a:gd name="T2" fmla="*/ 155 w 349"/>
                <a:gd name="T3" fmla="*/ 0 h 383"/>
                <a:gd name="T4" fmla="*/ 161 w 349"/>
                <a:gd name="T5" fmla="*/ 2 h 383"/>
                <a:gd name="T6" fmla="*/ 166 w 349"/>
                <a:gd name="T7" fmla="*/ 4 h 383"/>
                <a:gd name="T8" fmla="*/ 168 w 349"/>
                <a:gd name="T9" fmla="*/ 6 h 383"/>
                <a:gd name="T10" fmla="*/ 171 w 349"/>
                <a:gd name="T11" fmla="*/ 7 h 383"/>
                <a:gd name="T12" fmla="*/ 175 w 349"/>
                <a:gd name="T13" fmla="*/ 11 h 383"/>
                <a:gd name="T14" fmla="*/ 269 w 349"/>
                <a:gd name="T15" fmla="*/ 105 h 383"/>
                <a:gd name="T16" fmla="*/ 264 w 349"/>
                <a:gd name="T17" fmla="*/ 105 h 383"/>
                <a:gd name="T18" fmla="*/ 241 w 349"/>
                <a:gd name="T19" fmla="*/ 114 h 383"/>
                <a:gd name="T20" fmla="*/ 192 w 349"/>
                <a:gd name="T21" fmla="*/ 91 h 383"/>
                <a:gd name="T22" fmla="*/ 138 w 349"/>
                <a:gd name="T23" fmla="*/ 49 h 383"/>
                <a:gd name="T24" fmla="*/ 110 w 349"/>
                <a:gd name="T25" fmla="*/ 70 h 383"/>
                <a:gd name="T26" fmla="*/ 70 w 349"/>
                <a:gd name="T27" fmla="*/ 110 h 383"/>
                <a:gd name="T28" fmla="*/ 51 w 349"/>
                <a:gd name="T29" fmla="*/ 138 h 383"/>
                <a:gd name="T30" fmla="*/ 45 w 349"/>
                <a:gd name="T31" fmla="*/ 147 h 383"/>
                <a:gd name="T32" fmla="*/ 140 w 349"/>
                <a:gd name="T33" fmla="*/ 241 h 383"/>
                <a:gd name="T34" fmla="*/ 178 w 349"/>
                <a:gd name="T35" fmla="*/ 280 h 383"/>
                <a:gd name="T36" fmla="*/ 234 w 349"/>
                <a:gd name="T37" fmla="*/ 335 h 383"/>
                <a:gd name="T38" fmla="*/ 243 w 349"/>
                <a:gd name="T39" fmla="*/ 332 h 383"/>
                <a:gd name="T40" fmla="*/ 271 w 349"/>
                <a:gd name="T41" fmla="*/ 311 h 383"/>
                <a:gd name="T42" fmla="*/ 318 w 349"/>
                <a:gd name="T43" fmla="*/ 262 h 383"/>
                <a:gd name="T44" fmla="*/ 318 w 349"/>
                <a:gd name="T45" fmla="*/ 262 h 383"/>
                <a:gd name="T46" fmla="*/ 344 w 349"/>
                <a:gd name="T47" fmla="*/ 302 h 383"/>
                <a:gd name="T48" fmla="*/ 330 w 349"/>
                <a:gd name="T49" fmla="*/ 318 h 383"/>
                <a:gd name="T50" fmla="*/ 316 w 349"/>
                <a:gd name="T51" fmla="*/ 334 h 383"/>
                <a:gd name="T52" fmla="*/ 271 w 349"/>
                <a:gd name="T53" fmla="*/ 369 h 383"/>
                <a:gd name="T54" fmla="*/ 244 w 349"/>
                <a:gd name="T55" fmla="*/ 381 h 383"/>
                <a:gd name="T56" fmla="*/ 236 w 349"/>
                <a:gd name="T57" fmla="*/ 383 h 383"/>
                <a:gd name="T58" fmla="*/ 223 w 349"/>
                <a:gd name="T59" fmla="*/ 383 h 383"/>
                <a:gd name="T60" fmla="*/ 213 w 349"/>
                <a:gd name="T61" fmla="*/ 377 h 383"/>
                <a:gd name="T62" fmla="*/ 208 w 349"/>
                <a:gd name="T63" fmla="*/ 374 h 383"/>
                <a:gd name="T64" fmla="*/ 206 w 349"/>
                <a:gd name="T65" fmla="*/ 372 h 383"/>
                <a:gd name="T66" fmla="*/ 9 w 349"/>
                <a:gd name="T67" fmla="*/ 175 h 383"/>
                <a:gd name="T68" fmla="*/ 0 w 349"/>
                <a:gd name="T69" fmla="*/ 157 h 383"/>
                <a:gd name="T70" fmla="*/ 0 w 349"/>
                <a:gd name="T71" fmla="*/ 138 h 383"/>
                <a:gd name="T72" fmla="*/ 2 w 349"/>
                <a:gd name="T73" fmla="*/ 133 h 383"/>
                <a:gd name="T74" fmla="*/ 7 w 349"/>
                <a:gd name="T75" fmla="*/ 121 h 383"/>
                <a:gd name="T76" fmla="*/ 12 w 349"/>
                <a:gd name="T77" fmla="*/ 112 h 383"/>
                <a:gd name="T78" fmla="*/ 23 w 349"/>
                <a:gd name="T79" fmla="*/ 96 h 383"/>
                <a:gd name="T80" fmla="*/ 56 w 349"/>
                <a:gd name="T81" fmla="*/ 58 h 383"/>
                <a:gd name="T82" fmla="*/ 101 w 349"/>
                <a:gd name="T83" fmla="*/ 20 h 383"/>
                <a:gd name="T84" fmla="*/ 131 w 349"/>
                <a:gd name="T85" fmla="*/ 4 h 383"/>
                <a:gd name="T86" fmla="*/ 145 w 349"/>
                <a:gd name="T87" fmla="*/ 0 h 383"/>
                <a:gd name="T88" fmla="*/ 148 w 349"/>
                <a:gd name="T8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9" h="383">
                  <a:moveTo>
                    <a:pt x="148" y="0"/>
                  </a:moveTo>
                  <a:lnTo>
                    <a:pt x="150" y="0"/>
                  </a:lnTo>
                  <a:lnTo>
                    <a:pt x="152" y="0"/>
                  </a:lnTo>
                  <a:lnTo>
                    <a:pt x="155" y="0"/>
                  </a:lnTo>
                  <a:lnTo>
                    <a:pt x="157" y="0"/>
                  </a:lnTo>
                  <a:lnTo>
                    <a:pt x="161" y="2"/>
                  </a:lnTo>
                  <a:lnTo>
                    <a:pt x="162" y="2"/>
                  </a:lnTo>
                  <a:lnTo>
                    <a:pt x="166" y="4"/>
                  </a:lnTo>
                  <a:lnTo>
                    <a:pt x="166" y="4"/>
                  </a:lnTo>
                  <a:lnTo>
                    <a:pt x="168" y="6"/>
                  </a:lnTo>
                  <a:lnTo>
                    <a:pt x="169" y="6"/>
                  </a:lnTo>
                  <a:lnTo>
                    <a:pt x="171" y="7"/>
                  </a:lnTo>
                  <a:lnTo>
                    <a:pt x="173" y="7"/>
                  </a:lnTo>
                  <a:lnTo>
                    <a:pt x="175" y="11"/>
                  </a:lnTo>
                  <a:lnTo>
                    <a:pt x="175" y="11"/>
                  </a:lnTo>
                  <a:lnTo>
                    <a:pt x="269" y="105"/>
                  </a:lnTo>
                  <a:lnTo>
                    <a:pt x="269" y="105"/>
                  </a:lnTo>
                  <a:lnTo>
                    <a:pt x="264" y="105"/>
                  </a:lnTo>
                  <a:lnTo>
                    <a:pt x="253" y="109"/>
                  </a:lnTo>
                  <a:lnTo>
                    <a:pt x="241" y="114"/>
                  </a:lnTo>
                  <a:lnTo>
                    <a:pt x="223" y="124"/>
                  </a:lnTo>
                  <a:lnTo>
                    <a:pt x="192" y="91"/>
                  </a:lnTo>
                  <a:lnTo>
                    <a:pt x="147" y="46"/>
                  </a:lnTo>
                  <a:lnTo>
                    <a:pt x="138" y="49"/>
                  </a:lnTo>
                  <a:lnTo>
                    <a:pt x="126" y="58"/>
                  </a:lnTo>
                  <a:lnTo>
                    <a:pt x="110" y="70"/>
                  </a:lnTo>
                  <a:lnTo>
                    <a:pt x="89" y="89"/>
                  </a:lnTo>
                  <a:lnTo>
                    <a:pt x="70" y="110"/>
                  </a:lnTo>
                  <a:lnTo>
                    <a:pt x="58" y="126"/>
                  </a:lnTo>
                  <a:lnTo>
                    <a:pt x="51" y="138"/>
                  </a:lnTo>
                  <a:lnTo>
                    <a:pt x="47" y="143"/>
                  </a:lnTo>
                  <a:lnTo>
                    <a:pt x="45" y="147"/>
                  </a:lnTo>
                  <a:lnTo>
                    <a:pt x="45" y="147"/>
                  </a:lnTo>
                  <a:lnTo>
                    <a:pt x="140" y="241"/>
                  </a:lnTo>
                  <a:lnTo>
                    <a:pt x="145" y="246"/>
                  </a:lnTo>
                  <a:lnTo>
                    <a:pt x="178" y="280"/>
                  </a:lnTo>
                  <a:lnTo>
                    <a:pt x="234" y="335"/>
                  </a:lnTo>
                  <a:lnTo>
                    <a:pt x="234" y="335"/>
                  </a:lnTo>
                  <a:lnTo>
                    <a:pt x="237" y="334"/>
                  </a:lnTo>
                  <a:lnTo>
                    <a:pt x="243" y="332"/>
                  </a:lnTo>
                  <a:lnTo>
                    <a:pt x="255" y="323"/>
                  </a:lnTo>
                  <a:lnTo>
                    <a:pt x="271" y="311"/>
                  </a:lnTo>
                  <a:lnTo>
                    <a:pt x="292" y="292"/>
                  </a:lnTo>
                  <a:lnTo>
                    <a:pt x="318" y="262"/>
                  </a:lnTo>
                  <a:lnTo>
                    <a:pt x="318" y="262"/>
                  </a:lnTo>
                  <a:lnTo>
                    <a:pt x="318" y="262"/>
                  </a:lnTo>
                  <a:lnTo>
                    <a:pt x="349" y="295"/>
                  </a:lnTo>
                  <a:lnTo>
                    <a:pt x="344" y="302"/>
                  </a:lnTo>
                  <a:lnTo>
                    <a:pt x="337" y="311"/>
                  </a:lnTo>
                  <a:lnTo>
                    <a:pt x="330" y="318"/>
                  </a:lnTo>
                  <a:lnTo>
                    <a:pt x="323" y="325"/>
                  </a:lnTo>
                  <a:lnTo>
                    <a:pt x="316" y="334"/>
                  </a:lnTo>
                  <a:lnTo>
                    <a:pt x="290" y="355"/>
                  </a:lnTo>
                  <a:lnTo>
                    <a:pt x="271" y="369"/>
                  </a:lnTo>
                  <a:lnTo>
                    <a:pt x="255" y="377"/>
                  </a:lnTo>
                  <a:lnTo>
                    <a:pt x="244" y="381"/>
                  </a:lnTo>
                  <a:lnTo>
                    <a:pt x="241" y="381"/>
                  </a:lnTo>
                  <a:lnTo>
                    <a:pt x="236" y="383"/>
                  </a:lnTo>
                  <a:lnTo>
                    <a:pt x="232" y="383"/>
                  </a:lnTo>
                  <a:lnTo>
                    <a:pt x="223" y="383"/>
                  </a:lnTo>
                  <a:lnTo>
                    <a:pt x="218" y="381"/>
                  </a:lnTo>
                  <a:lnTo>
                    <a:pt x="213" y="377"/>
                  </a:lnTo>
                  <a:lnTo>
                    <a:pt x="208" y="374"/>
                  </a:lnTo>
                  <a:lnTo>
                    <a:pt x="208" y="374"/>
                  </a:lnTo>
                  <a:lnTo>
                    <a:pt x="208" y="374"/>
                  </a:lnTo>
                  <a:lnTo>
                    <a:pt x="206" y="372"/>
                  </a:lnTo>
                  <a:lnTo>
                    <a:pt x="206" y="372"/>
                  </a:lnTo>
                  <a:lnTo>
                    <a:pt x="9" y="175"/>
                  </a:lnTo>
                  <a:lnTo>
                    <a:pt x="3" y="168"/>
                  </a:lnTo>
                  <a:lnTo>
                    <a:pt x="0" y="157"/>
                  </a:lnTo>
                  <a:lnTo>
                    <a:pt x="0" y="142"/>
                  </a:lnTo>
                  <a:lnTo>
                    <a:pt x="0" y="138"/>
                  </a:lnTo>
                  <a:lnTo>
                    <a:pt x="0" y="136"/>
                  </a:lnTo>
                  <a:lnTo>
                    <a:pt x="2" y="133"/>
                  </a:lnTo>
                  <a:lnTo>
                    <a:pt x="3" y="128"/>
                  </a:lnTo>
                  <a:lnTo>
                    <a:pt x="7" y="121"/>
                  </a:lnTo>
                  <a:lnTo>
                    <a:pt x="12" y="112"/>
                  </a:lnTo>
                  <a:lnTo>
                    <a:pt x="12" y="112"/>
                  </a:lnTo>
                  <a:lnTo>
                    <a:pt x="12" y="110"/>
                  </a:lnTo>
                  <a:lnTo>
                    <a:pt x="23" y="96"/>
                  </a:lnTo>
                  <a:lnTo>
                    <a:pt x="37" y="79"/>
                  </a:lnTo>
                  <a:lnTo>
                    <a:pt x="56" y="58"/>
                  </a:lnTo>
                  <a:lnTo>
                    <a:pt x="80" y="35"/>
                  </a:lnTo>
                  <a:lnTo>
                    <a:pt x="101" y="20"/>
                  </a:lnTo>
                  <a:lnTo>
                    <a:pt x="119" y="9"/>
                  </a:lnTo>
                  <a:lnTo>
                    <a:pt x="131" y="4"/>
                  </a:lnTo>
                  <a:lnTo>
                    <a:pt x="138" y="0"/>
                  </a:lnTo>
                  <a:lnTo>
                    <a:pt x="145" y="0"/>
                  </a:lnTo>
                  <a:lnTo>
                    <a:pt x="147" y="0"/>
                  </a:lnTo>
                  <a:lnTo>
                    <a:pt x="1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4"/>
                </a:solidFill>
              </a:endParaRPr>
            </a:p>
          </p:txBody>
        </p:sp>
      </p:grpSp>
      <p:grpSp>
        <p:nvGrpSpPr>
          <p:cNvPr id="66" name="Group 65"/>
          <p:cNvGrpSpPr>
            <a:grpSpLocks noChangeAspect="1"/>
          </p:cNvGrpSpPr>
          <p:nvPr/>
        </p:nvGrpSpPr>
        <p:grpSpPr>
          <a:xfrm>
            <a:off x="6843401" y="885267"/>
            <a:ext cx="173032" cy="174625"/>
            <a:chOff x="6034088" y="2746639"/>
            <a:chExt cx="862012" cy="869950"/>
          </a:xfrm>
          <a:solidFill>
            <a:schemeClr val="tx1"/>
          </a:solidFill>
        </p:grpSpPr>
        <p:sp>
          <p:nvSpPr>
            <p:cNvPr id="67" name="Freeform 200"/>
            <p:cNvSpPr>
              <a:spLocks/>
            </p:cNvSpPr>
            <p:nvPr/>
          </p:nvSpPr>
          <p:spPr bwMode="auto">
            <a:xfrm>
              <a:off x="6034088" y="2914914"/>
              <a:ext cx="701675" cy="701675"/>
            </a:xfrm>
            <a:custGeom>
              <a:avLst/>
              <a:gdLst>
                <a:gd name="T0" fmla="*/ 220 w 442"/>
                <a:gd name="T1" fmla="*/ 0 h 442"/>
                <a:gd name="T2" fmla="*/ 260 w 442"/>
                <a:gd name="T3" fmla="*/ 4 h 442"/>
                <a:gd name="T4" fmla="*/ 299 w 442"/>
                <a:gd name="T5" fmla="*/ 14 h 442"/>
                <a:gd name="T6" fmla="*/ 333 w 442"/>
                <a:gd name="T7" fmla="*/ 32 h 442"/>
                <a:gd name="T8" fmla="*/ 293 w 442"/>
                <a:gd name="T9" fmla="*/ 72 h 442"/>
                <a:gd name="T10" fmla="*/ 258 w 442"/>
                <a:gd name="T11" fmla="*/ 60 h 442"/>
                <a:gd name="T12" fmla="*/ 220 w 442"/>
                <a:gd name="T13" fmla="*/ 55 h 442"/>
                <a:gd name="T14" fmla="*/ 183 w 442"/>
                <a:gd name="T15" fmla="*/ 60 h 442"/>
                <a:gd name="T16" fmla="*/ 148 w 442"/>
                <a:gd name="T17" fmla="*/ 72 h 442"/>
                <a:gd name="T18" fmla="*/ 117 w 442"/>
                <a:gd name="T19" fmla="*/ 91 h 442"/>
                <a:gd name="T20" fmla="*/ 91 w 442"/>
                <a:gd name="T21" fmla="*/ 117 h 442"/>
                <a:gd name="T22" fmla="*/ 72 w 442"/>
                <a:gd name="T23" fmla="*/ 147 h 442"/>
                <a:gd name="T24" fmla="*/ 59 w 442"/>
                <a:gd name="T25" fmla="*/ 182 h 442"/>
                <a:gd name="T26" fmla="*/ 56 w 442"/>
                <a:gd name="T27" fmla="*/ 220 h 442"/>
                <a:gd name="T28" fmla="*/ 59 w 442"/>
                <a:gd name="T29" fmla="*/ 259 h 442"/>
                <a:gd name="T30" fmla="*/ 72 w 442"/>
                <a:gd name="T31" fmla="*/ 294 h 442"/>
                <a:gd name="T32" fmla="*/ 91 w 442"/>
                <a:gd name="T33" fmla="*/ 323 h 442"/>
                <a:gd name="T34" fmla="*/ 117 w 442"/>
                <a:gd name="T35" fmla="*/ 350 h 442"/>
                <a:gd name="T36" fmla="*/ 148 w 442"/>
                <a:gd name="T37" fmla="*/ 369 h 442"/>
                <a:gd name="T38" fmla="*/ 183 w 442"/>
                <a:gd name="T39" fmla="*/ 381 h 442"/>
                <a:gd name="T40" fmla="*/ 220 w 442"/>
                <a:gd name="T41" fmla="*/ 386 h 442"/>
                <a:gd name="T42" fmla="*/ 258 w 442"/>
                <a:gd name="T43" fmla="*/ 381 h 442"/>
                <a:gd name="T44" fmla="*/ 293 w 442"/>
                <a:gd name="T45" fmla="*/ 369 h 442"/>
                <a:gd name="T46" fmla="*/ 323 w 442"/>
                <a:gd name="T47" fmla="*/ 350 h 442"/>
                <a:gd name="T48" fmla="*/ 349 w 442"/>
                <a:gd name="T49" fmla="*/ 323 h 442"/>
                <a:gd name="T50" fmla="*/ 368 w 442"/>
                <a:gd name="T51" fmla="*/ 294 h 442"/>
                <a:gd name="T52" fmla="*/ 381 w 442"/>
                <a:gd name="T53" fmla="*/ 259 h 442"/>
                <a:gd name="T54" fmla="*/ 386 w 442"/>
                <a:gd name="T55" fmla="*/ 220 h 442"/>
                <a:gd name="T56" fmla="*/ 381 w 442"/>
                <a:gd name="T57" fmla="*/ 182 h 442"/>
                <a:gd name="T58" fmla="*/ 367 w 442"/>
                <a:gd name="T59" fmla="*/ 145 h 442"/>
                <a:gd name="T60" fmla="*/ 407 w 442"/>
                <a:gd name="T61" fmla="*/ 103 h 442"/>
                <a:gd name="T62" fmla="*/ 426 w 442"/>
                <a:gd name="T63" fmla="*/ 138 h 442"/>
                <a:gd name="T64" fmla="*/ 437 w 442"/>
                <a:gd name="T65" fmla="*/ 178 h 442"/>
                <a:gd name="T66" fmla="*/ 442 w 442"/>
                <a:gd name="T67" fmla="*/ 220 h 442"/>
                <a:gd name="T68" fmla="*/ 437 w 442"/>
                <a:gd name="T69" fmla="*/ 266 h 442"/>
                <a:gd name="T70" fmla="*/ 424 w 442"/>
                <a:gd name="T71" fmla="*/ 306 h 442"/>
                <a:gd name="T72" fmla="*/ 403 w 442"/>
                <a:gd name="T73" fmla="*/ 344 h 442"/>
                <a:gd name="T74" fmla="*/ 377 w 442"/>
                <a:gd name="T75" fmla="*/ 377 h 442"/>
                <a:gd name="T76" fmla="*/ 344 w 442"/>
                <a:gd name="T77" fmla="*/ 404 h 442"/>
                <a:gd name="T78" fmla="*/ 306 w 442"/>
                <a:gd name="T79" fmla="*/ 425 h 442"/>
                <a:gd name="T80" fmla="*/ 265 w 442"/>
                <a:gd name="T81" fmla="*/ 437 h 442"/>
                <a:gd name="T82" fmla="*/ 220 w 442"/>
                <a:gd name="T83" fmla="*/ 442 h 442"/>
                <a:gd name="T84" fmla="*/ 176 w 442"/>
                <a:gd name="T85" fmla="*/ 437 h 442"/>
                <a:gd name="T86" fmla="*/ 134 w 442"/>
                <a:gd name="T87" fmla="*/ 425 h 442"/>
                <a:gd name="T88" fmla="*/ 98 w 442"/>
                <a:gd name="T89" fmla="*/ 404 h 442"/>
                <a:gd name="T90" fmla="*/ 65 w 442"/>
                <a:gd name="T91" fmla="*/ 377 h 442"/>
                <a:gd name="T92" fmla="*/ 37 w 442"/>
                <a:gd name="T93" fmla="*/ 344 h 442"/>
                <a:gd name="T94" fmla="*/ 17 w 442"/>
                <a:gd name="T95" fmla="*/ 306 h 442"/>
                <a:gd name="T96" fmla="*/ 3 w 442"/>
                <a:gd name="T97" fmla="*/ 266 h 442"/>
                <a:gd name="T98" fmla="*/ 0 w 442"/>
                <a:gd name="T99" fmla="*/ 220 h 442"/>
                <a:gd name="T100" fmla="*/ 3 w 442"/>
                <a:gd name="T101" fmla="*/ 177 h 442"/>
                <a:gd name="T102" fmla="*/ 17 w 442"/>
                <a:gd name="T103" fmla="*/ 135 h 442"/>
                <a:gd name="T104" fmla="*/ 37 w 442"/>
                <a:gd name="T105" fmla="*/ 96 h 442"/>
                <a:gd name="T106" fmla="*/ 65 w 442"/>
                <a:gd name="T107" fmla="*/ 65 h 442"/>
                <a:gd name="T108" fmla="*/ 98 w 442"/>
                <a:gd name="T109" fmla="*/ 37 h 442"/>
                <a:gd name="T110" fmla="*/ 134 w 442"/>
                <a:gd name="T111" fmla="*/ 18 h 442"/>
                <a:gd name="T112" fmla="*/ 176 w 442"/>
                <a:gd name="T113" fmla="*/ 4 h 442"/>
                <a:gd name="T114" fmla="*/ 220 w 442"/>
                <a:gd name="T115"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2" h="442">
                  <a:moveTo>
                    <a:pt x="220" y="0"/>
                  </a:moveTo>
                  <a:lnTo>
                    <a:pt x="260" y="4"/>
                  </a:lnTo>
                  <a:lnTo>
                    <a:pt x="299" y="14"/>
                  </a:lnTo>
                  <a:lnTo>
                    <a:pt x="333" y="32"/>
                  </a:lnTo>
                  <a:lnTo>
                    <a:pt x="293" y="72"/>
                  </a:lnTo>
                  <a:lnTo>
                    <a:pt x="258" y="60"/>
                  </a:lnTo>
                  <a:lnTo>
                    <a:pt x="220" y="55"/>
                  </a:lnTo>
                  <a:lnTo>
                    <a:pt x="183" y="60"/>
                  </a:lnTo>
                  <a:lnTo>
                    <a:pt x="148" y="72"/>
                  </a:lnTo>
                  <a:lnTo>
                    <a:pt x="117" y="91"/>
                  </a:lnTo>
                  <a:lnTo>
                    <a:pt x="91" y="117"/>
                  </a:lnTo>
                  <a:lnTo>
                    <a:pt x="72" y="147"/>
                  </a:lnTo>
                  <a:lnTo>
                    <a:pt x="59" y="182"/>
                  </a:lnTo>
                  <a:lnTo>
                    <a:pt x="56" y="220"/>
                  </a:lnTo>
                  <a:lnTo>
                    <a:pt x="59" y="259"/>
                  </a:lnTo>
                  <a:lnTo>
                    <a:pt x="72" y="294"/>
                  </a:lnTo>
                  <a:lnTo>
                    <a:pt x="91" y="323"/>
                  </a:lnTo>
                  <a:lnTo>
                    <a:pt x="117" y="350"/>
                  </a:lnTo>
                  <a:lnTo>
                    <a:pt x="148" y="369"/>
                  </a:lnTo>
                  <a:lnTo>
                    <a:pt x="183" y="381"/>
                  </a:lnTo>
                  <a:lnTo>
                    <a:pt x="220" y="386"/>
                  </a:lnTo>
                  <a:lnTo>
                    <a:pt x="258" y="381"/>
                  </a:lnTo>
                  <a:lnTo>
                    <a:pt x="293" y="369"/>
                  </a:lnTo>
                  <a:lnTo>
                    <a:pt x="323" y="350"/>
                  </a:lnTo>
                  <a:lnTo>
                    <a:pt x="349" y="323"/>
                  </a:lnTo>
                  <a:lnTo>
                    <a:pt x="368" y="294"/>
                  </a:lnTo>
                  <a:lnTo>
                    <a:pt x="381" y="259"/>
                  </a:lnTo>
                  <a:lnTo>
                    <a:pt x="386" y="220"/>
                  </a:lnTo>
                  <a:lnTo>
                    <a:pt x="381" y="182"/>
                  </a:lnTo>
                  <a:lnTo>
                    <a:pt x="367" y="145"/>
                  </a:lnTo>
                  <a:lnTo>
                    <a:pt x="407" y="103"/>
                  </a:lnTo>
                  <a:lnTo>
                    <a:pt x="426" y="138"/>
                  </a:lnTo>
                  <a:lnTo>
                    <a:pt x="437" y="178"/>
                  </a:lnTo>
                  <a:lnTo>
                    <a:pt x="442" y="220"/>
                  </a:lnTo>
                  <a:lnTo>
                    <a:pt x="437" y="266"/>
                  </a:lnTo>
                  <a:lnTo>
                    <a:pt x="424" y="306"/>
                  </a:lnTo>
                  <a:lnTo>
                    <a:pt x="403" y="344"/>
                  </a:lnTo>
                  <a:lnTo>
                    <a:pt x="377" y="377"/>
                  </a:lnTo>
                  <a:lnTo>
                    <a:pt x="344" y="404"/>
                  </a:lnTo>
                  <a:lnTo>
                    <a:pt x="306" y="425"/>
                  </a:lnTo>
                  <a:lnTo>
                    <a:pt x="265" y="437"/>
                  </a:lnTo>
                  <a:lnTo>
                    <a:pt x="220" y="442"/>
                  </a:lnTo>
                  <a:lnTo>
                    <a:pt x="176" y="437"/>
                  </a:lnTo>
                  <a:lnTo>
                    <a:pt x="134" y="425"/>
                  </a:lnTo>
                  <a:lnTo>
                    <a:pt x="98" y="404"/>
                  </a:lnTo>
                  <a:lnTo>
                    <a:pt x="65" y="377"/>
                  </a:lnTo>
                  <a:lnTo>
                    <a:pt x="37" y="344"/>
                  </a:lnTo>
                  <a:lnTo>
                    <a:pt x="17" y="306"/>
                  </a:lnTo>
                  <a:lnTo>
                    <a:pt x="3" y="266"/>
                  </a:lnTo>
                  <a:lnTo>
                    <a:pt x="0" y="220"/>
                  </a:lnTo>
                  <a:lnTo>
                    <a:pt x="3" y="177"/>
                  </a:lnTo>
                  <a:lnTo>
                    <a:pt x="17" y="135"/>
                  </a:lnTo>
                  <a:lnTo>
                    <a:pt x="37" y="96"/>
                  </a:lnTo>
                  <a:lnTo>
                    <a:pt x="65" y="65"/>
                  </a:lnTo>
                  <a:lnTo>
                    <a:pt x="98" y="37"/>
                  </a:lnTo>
                  <a:lnTo>
                    <a:pt x="134" y="18"/>
                  </a:lnTo>
                  <a:lnTo>
                    <a:pt x="176" y="4"/>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68" name="Freeform 201"/>
            <p:cNvSpPr>
              <a:spLocks/>
            </p:cNvSpPr>
            <p:nvPr/>
          </p:nvSpPr>
          <p:spPr bwMode="auto">
            <a:xfrm>
              <a:off x="6208713" y="3089539"/>
              <a:ext cx="352425" cy="352425"/>
            </a:xfrm>
            <a:custGeom>
              <a:avLst/>
              <a:gdLst>
                <a:gd name="T0" fmla="*/ 110 w 222"/>
                <a:gd name="T1" fmla="*/ 0 h 222"/>
                <a:gd name="T2" fmla="*/ 143 w 222"/>
                <a:gd name="T3" fmla="*/ 6 h 222"/>
                <a:gd name="T4" fmla="*/ 77 w 222"/>
                <a:gd name="T5" fmla="*/ 75 h 222"/>
                <a:gd name="T6" fmla="*/ 73 w 222"/>
                <a:gd name="T7" fmla="*/ 81 h 222"/>
                <a:gd name="T8" fmla="*/ 70 w 222"/>
                <a:gd name="T9" fmla="*/ 88 h 222"/>
                <a:gd name="T10" fmla="*/ 68 w 222"/>
                <a:gd name="T11" fmla="*/ 95 h 222"/>
                <a:gd name="T12" fmla="*/ 68 w 222"/>
                <a:gd name="T13" fmla="*/ 100 h 222"/>
                <a:gd name="T14" fmla="*/ 68 w 222"/>
                <a:gd name="T15" fmla="*/ 112 h 222"/>
                <a:gd name="T16" fmla="*/ 72 w 222"/>
                <a:gd name="T17" fmla="*/ 124 h 222"/>
                <a:gd name="T18" fmla="*/ 80 w 222"/>
                <a:gd name="T19" fmla="*/ 138 h 222"/>
                <a:gd name="T20" fmla="*/ 93 w 222"/>
                <a:gd name="T21" fmla="*/ 149 h 222"/>
                <a:gd name="T22" fmla="*/ 107 w 222"/>
                <a:gd name="T23" fmla="*/ 156 h 222"/>
                <a:gd name="T24" fmla="*/ 122 w 222"/>
                <a:gd name="T25" fmla="*/ 157 h 222"/>
                <a:gd name="T26" fmla="*/ 131 w 222"/>
                <a:gd name="T27" fmla="*/ 157 h 222"/>
                <a:gd name="T28" fmla="*/ 138 w 222"/>
                <a:gd name="T29" fmla="*/ 154 h 222"/>
                <a:gd name="T30" fmla="*/ 145 w 222"/>
                <a:gd name="T31" fmla="*/ 150 h 222"/>
                <a:gd name="T32" fmla="*/ 152 w 222"/>
                <a:gd name="T33" fmla="*/ 145 h 222"/>
                <a:gd name="T34" fmla="*/ 217 w 222"/>
                <a:gd name="T35" fmla="*/ 79 h 222"/>
                <a:gd name="T36" fmla="*/ 222 w 222"/>
                <a:gd name="T37" fmla="*/ 110 h 222"/>
                <a:gd name="T38" fmla="*/ 218 w 222"/>
                <a:gd name="T39" fmla="*/ 140 h 222"/>
                <a:gd name="T40" fmla="*/ 206 w 222"/>
                <a:gd name="T41" fmla="*/ 166 h 222"/>
                <a:gd name="T42" fmla="*/ 189 w 222"/>
                <a:gd name="T43" fmla="*/ 189 h 222"/>
                <a:gd name="T44" fmla="*/ 166 w 222"/>
                <a:gd name="T45" fmla="*/ 206 h 222"/>
                <a:gd name="T46" fmla="*/ 140 w 222"/>
                <a:gd name="T47" fmla="*/ 217 h 222"/>
                <a:gd name="T48" fmla="*/ 110 w 222"/>
                <a:gd name="T49" fmla="*/ 222 h 222"/>
                <a:gd name="T50" fmla="*/ 80 w 222"/>
                <a:gd name="T51" fmla="*/ 217 h 222"/>
                <a:gd name="T52" fmla="*/ 54 w 222"/>
                <a:gd name="T53" fmla="*/ 206 h 222"/>
                <a:gd name="T54" fmla="*/ 31 w 222"/>
                <a:gd name="T55" fmla="*/ 189 h 222"/>
                <a:gd name="T56" fmla="*/ 14 w 222"/>
                <a:gd name="T57" fmla="*/ 166 h 222"/>
                <a:gd name="T58" fmla="*/ 3 w 222"/>
                <a:gd name="T59" fmla="*/ 140 h 222"/>
                <a:gd name="T60" fmla="*/ 0 w 222"/>
                <a:gd name="T61" fmla="*/ 110 h 222"/>
                <a:gd name="T62" fmla="*/ 3 w 222"/>
                <a:gd name="T63" fmla="*/ 81 h 222"/>
                <a:gd name="T64" fmla="*/ 14 w 222"/>
                <a:gd name="T65" fmla="*/ 54 h 222"/>
                <a:gd name="T66" fmla="*/ 31 w 222"/>
                <a:gd name="T67" fmla="*/ 32 h 222"/>
                <a:gd name="T68" fmla="*/ 54 w 222"/>
                <a:gd name="T69" fmla="*/ 14 h 222"/>
                <a:gd name="T70" fmla="*/ 80 w 222"/>
                <a:gd name="T71" fmla="*/ 4 h 222"/>
                <a:gd name="T72" fmla="*/ 110 w 222"/>
                <a:gd name="T7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2" h="222">
                  <a:moveTo>
                    <a:pt x="110" y="0"/>
                  </a:moveTo>
                  <a:lnTo>
                    <a:pt x="143" y="6"/>
                  </a:lnTo>
                  <a:lnTo>
                    <a:pt x="77" y="75"/>
                  </a:lnTo>
                  <a:lnTo>
                    <a:pt x="73" y="81"/>
                  </a:lnTo>
                  <a:lnTo>
                    <a:pt x="70" y="88"/>
                  </a:lnTo>
                  <a:lnTo>
                    <a:pt x="68" y="95"/>
                  </a:lnTo>
                  <a:lnTo>
                    <a:pt x="68" y="100"/>
                  </a:lnTo>
                  <a:lnTo>
                    <a:pt x="68" y="112"/>
                  </a:lnTo>
                  <a:lnTo>
                    <a:pt x="72" y="124"/>
                  </a:lnTo>
                  <a:lnTo>
                    <a:pt x="80" y="138"/>
                  </a:lnTo>
                  <a:lnTo>
                    <a:pt x="93" y="149"/>
                  </a:lnTo>
                  <a:lnTo>
                    <a:pt x="107" y="156"/>
                  </a:lnTo>
                  <a:lnTo>
                    <a:pt x="122" y="157"/>
                  </a:lnTo>
                  <a:lnTo>
                    <a:pt x="131" y="157"/>
                  </a:lnTo>
                  <a:lnTo>
                    <a:pt x="138" y="154"/>
                  </a:lnTo>
                  <a:lnTo>
                    <a:pt x="145" y="150"/>
                  </a:lnTo>
                  <a:lnTo>
                    <a:pt x="152" y="145"/>
                  </a:lnTo>
                  <a:lnTo>
                    <a:pt x="217" y="79"/>
                  </a:lnTo>
                  <a:lnTo>
                    <a:pt x="222" y="110"/>
                  </a:lnTo>
                  <a:lnTo>
                    <a:pt x="218" y="140"/>
                  </a:lnTo>
                  <a:lnTo>
                    <a:pt x="206" y="166"/>
                  </a:lnTo>
                  <a:lnTo>
                    <a:pt x="189" y="189"/>
                  </a:lnTo>
                  <a:lnTo>
                    <a:pt x="166" y="206"/>
                  </a:lnTo>
                  <a:lnTo>
                    <a:pt x="140" y="217"/>
                  </a:lnTo>
                  <a:lnTo>
                    <a:pt x="110" y="222"/>
                  </a:lnTo>
                  <a:lnTo>
                    <a:pt x="80" y="217"/>
                  </a:lnTo>
                  <a:lnTo>
                    <a:pt x="54" y="206"/>
                  </a:lnTo>
                  <a:lnTo>
                    <a:pt x="31" y="189"/>
                  </a:lnTo>
                  <a:lnTo>
                    <a:pt x="14" y="166"/>
                  </a:lnTo>
                  <a:lnTo>
                    <a:pt x="3" y="140"/>
                  </a:lnTo>
                  <a:lnTo>
                    <a:pt x="0" y="110"/>
                  </a:lnTo>
                  <a:lnTo>
                    <a:pt x="3" y="81"/>
                  </a:lnTo>
                  <a:lnTo>
                    <a:pt x="14" y="54"/>
                  </a:lnTo>
                  <a:lnTo>
                    <a:pt x="31" y="32"/>
                  </a:lnTo>
                  <a:lnTo>
                    <a:pt x="54" y="14"/>
                  </a:lnTo>
                  <a:lnTo>
                    <a:pt x="80" y="4"/>
                  </a:lnTo>
                  <a:lnTo>
                    <a:pt x="1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sp>
          <p:nvSpPr>
            <p:cNvPr id="69" name="Freeform 202"/>
            <p:cNvSpPr>
              <a:spLocks/>
            </p:cNvSpPr>
            <p:nvPr/>
          </p:nvSpPr>
          <p:spPr bwMode="auto">
            <a:xfrm>
              <a:off x="6369050" y="2746639"/>
              <a:ext cx="527050" cy="538163"/>
            </a:xfrm>
            <a:custGeom>
              <a:avLst/>
              <a:gdLst>
                <a:gd name="T0" fmla="*/ 246 w 332"/>
                <a:gd name="T1" fmla="*/ 0 h 339"/>
                <a:gd name="T2" fmla="*/ 252 w 332"/>
                <a:gd name="T3" fmla="*/ 7 h 339"/>
                <a:gd name="T4" fmla="*/ 269 w 332"/>
                <a:gd name="T5" fmla="*/ 31 h 339"/>
                <a:gd name="T6" fmla="*/ 297 w 332"/>
                <a:gd name="T7" fmla="*/ 59 h 339"/>
                <a:gd name="T8" fmla="*/ 320 w 332"/>
                <a:gd name="T9" fmla="*/ 75 h 339"/>
                <a:gd name="T10" fmla="*/ 323 w 332"/>
                <a:gd name="T11" fmla="*/ 77 h 339"/>
                <a:gd name="T12" fmla="*/ 325 w 332"/>
                <a:gd name="T13" fmla="*/ 78 h 339"/>
                <a:gd name="T14" fmla="*/ 329 w 332"/>
                <a:gd name="T15" fmla="*/ 80 h 339"/>
                <a:gd name="T16" fmla="*/ 330 w 332"/>
                <a:gd name="T17" fmla="*/ 84 h 339"/>
                <a:gd name="T18" fmla="*/ 332 w 332"/>
                <a:gd name="T19" fmla="*/ 85 h 339"/>
                <a:gd name="T20" fmla="*/ 330 w 332"/>
                <a:gd name="T21" fmla="*/ 92 h 339"/>
                <a:gd name="T22" fmla="*/ 325 w 332"/>
                <a:gd name="T23" fmla="*/ 98 h 339"/>
                <a:gd name="T24" fmla="*/ 325 w 332"/>
                <a:gd name="T25" fmla="*/ 98 h 339"/>
                <a:gd name="T26" fmla="*/ 260 w 332"/>
                <a:gd name="T27" fmla="*/ 110 h 339"/>
                <a:gd name="T28" fmla="*/ 271 w 332"/>
                <a:gd name="T29" fmla="*/ 117 h 339"/>
                <a:gd name="T30" fmla="*/ 278 w 332"/>
                <a:gd name="T31" fmla="*/ 120 h 339"/>
                <a:gd name="T32" fmla="*/ 280 w 332"/>
                <a:gd name="T33" fmla="*/ 122 h 339"/>
                <a:gd name="T34" fmla="*/ 281 w 332"/>
                <a:gd name="T35" fmla="*/ 122 h 339"/>
                <a:gd name="T36" fmla="*/ 285 w 332"/>
                <a:gd name="T37" fmla="*/ 124 h 339"/>
                <a:gd name="T38" fmla="*/ 287 w 332"/>
                <a:gd name="T39" fmla="*/ 127 h 339"/>
                <a:gd name="T40" fmla="*/ 287 w 332"/>
                <a:gd name="T41" fmla="*/ 129 h 339"/>
                <a:gd name="T42" fmla="*/ 287 w 332"/>
                <a:gd name="T43" fmla="*/ 138 h 339"/>
                <a:gd name="T44" fmla="*/ 281 w 332"/>
                <a:gd name="T45" fmla="*/ 143 h 339"/>
                <a:gd name="T46" fmla="*/ 281 w 332"/>
                <a:gd name="T47" fmla="*/ 143 h 339"/>
                <a:gd name="T48" fmla="*/ 199 w 332"/>
                <a:gd name="T49" fmla="*/ 157 h 339"/>
                <a:gd name="T50" fmla="*/ 21 w 332"/>
                <a:gd name="T51" fmla="*/ 339 h 339"/>
                <a:gd name="T52" fmla="*/ 11 w 332"/>
                <a:gd name="T53" fmla="*/ 337 h 339"/>
                <a:gd name="T54" fmla="*/ 4 w 332"/>
                <a:gd name="T55" fmla="*/ 330 h 339"/>
                <a:gd name="T56" fmla="*/ 2 w 332"/>
                <a:gd name="T57" fmla="*/ 323 h 339"/>
                <a:gd name="T58" fmla="*/ 0 w 332"/>
                <a:gd name="T59" fmla="*/ 318 h 339"/>
                <a:gd name="T60" fmla="*/ 0 w 332"/>
                <a:gd name="T61" fmla="*/ 314 h 339"/>
                <a:gd name="T62" fmla="*/ 185 w 332"/>
                <a:gd name="T63" fmla="*/ 58 h 339"/>
                <a:gd name="T64" fmla="*/ 187 w 332"/>
                <a:gd name="T65" fmla="*/ 52 h 339"/>
                <a:gd name="T66" fmla="*/ 187 w 332"/>
                <a:gd name="T67" fmla="*/ 51 h 339"/>
                <a:gd name="T68" fmla="*/ 191 w 332"/>
                <a:gd name="T69" fmla="*/ 47 h 339"/>
                <a:gd name="T70" fmla="*/ 194 w 332"/>
                <a:gd name="T71" fmla="*/ 44 h 339"/>
                <a:gd name="T72" fmla="*/ 203 w 332"/>
                <a:gd name="T73" fmla="*/ 45 h 339"/>
                <a:gd name="T74" fmla="*/ 206 w 332"/>
                <a:gd name="T75" fmla="*/ 47 h 339"/>
                <a:gd name="T76" fmla="*/ 210 w 332"/>
                <a:gd name="T77" fmla="*/ 54 h 339"/>
                <a:gd name="T78" fmla="*/ 217 w 332"/>
                <a:gd name="T79" fmla="*/ 65 h 339"/>
                <a:gd name="T80" fmla="*/ 231 w 332"/>
                <a:gd name="T81" fmla="*/ 12 h 339"/>
                <a:gd name="T82" fmla="*/ 232 w 332"/>
                <a:gd name="T83" fmla="*/ 9 h 339"/>
                <a:gd name="T84" fmla="*/ 232 w 332"/>
                <a:gd name="T85" fmla="*/ 7 h 339"/>
                <a:gd name="T86" fmla="*/ 234 w 332"/>
                <a:gd name="T87" fmla="*/ 2 h 339"/>
                <a:gd name="T88" fmla="*/ 239 w 332"/>
                <a:gd name="T8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339">
                  <a:moveTo>
                    <a:pt x="243" y="0"/>
                  </a:moveTo>
                  <a:lnTo>
                    <a:pt x="246" y="0"/>
                  </a:lnTo>
                  <a:lnTo>
                    <a:pt x="250" y="2"/>
                  </a:lnTo>
                  <a:lnTo>
                    <a:pt x="252" y="7"/>
                  </a:lnTo>
                  <a:lnTo>
                    <a:pt x="259" y="16"/>
                  </a:lnTo>
                  <a:lnTo>
                    <a:pt x="269" y="31"/>
                  </a:lnTo>
                  <a:lnTo>
                    <a:pt x="283" y="47"/>
                  </a:lnTo>
                  <a:lnTo>
                    <a:pt x="297" y="59"/>
                  </a:lnTo>
                  <a:lnTo>
                    <a:pt x="309" y="68"/>
                  </a:lnTo>
                  <a:lnTo>
                    <a:pt x="320" y="75"/>
                  </a:lnTo>
                  <a:lnTo>
                    <a:pt x="323" y="77"/>
                  </a:lnTo>
                  <a:lnTo>
                    <a:pt x="323" y="77"/>
                  </a:lnTo>
                  <a:lnTo>
                    <a:pt x="323" y="77"/>
                  </a:lnTo>
                  <a:lnTo>
                    <a:pt x="325" y="78"/>
                  </a:lnTo>
                  <a:lnTo>
                    <a:pt x="329" y="80"/>
                  </a:lnTo>
                  <a:lnTo>
                    <a:pt x="329" y="80"/>
                  </a:lnTo>
                  <a:lnTo>
                    <a:pt x="330" y="82"/>
                  </a:lnTo>
                  <a:lnTo>
                    <a:pt x="330" y="84"/>
                  </a:lnTo>
                  <a:lnTo>
                    <a:pt x="332" y="85"/>
                  </a:lnTo>
                  <a:lnTo>
                    <a:pt x="332" y="85"/>
                  </a:lnTo>
                  <a:lnTo>
                    <a:pt x="332" y="89"/>
                  </a:lnTo>
                  <a:lnTo>
                    <a:pt x="330" y="92"/>
                  </a:lnTo>
                  <a:lnTo>
                    <a:pt x="329" y="96"/>
                  </a:lnTo>
                  <a:lnTo>
                    <a:pt x="325" y="98"/>
                  </a:lnTo>
                  <a:lnTo>
                    <a:pt x="325" y="98"/>
                  </a:lnTo>
                  <a:lnTo>
                    <a:pt x="325" y="98"/>
                  </a:lnTo>
                  <a:lnTo>
                    <a:pt x="322" y="99"/>
                  </a:lnTo>
                  <a:lnTo>
                    <a:pt x="260" y="110"/>
                  </a:lnTo>
                  <a:lnTo>
                    <a:pt x="266" y="113"/>
                  </a:lnTo>
                  <a:lnTo>
                    <a:pt x="271" y="117"/>
                  </a:lnTo>
                  <a:lnTo>
                    <a:pt x="274" y="119"/>
                  </a:lnTo>
                  <a:lnTo>
                    <a:pt x="278" y="120"/>
                  </a:lnTo>
                  <a:lnTo>
                    <a:pt x="280" y="122"/>
                  </a:lnTo>
                  <a:lnTo>
                    <a:pt x="280" y="122"/>
                  </a:lnTo>
                  <a:lnTo>
                    <a:pt x="280" y="122"/>
                  </a:lnTo>
                  <a:lnTo>
                    <a:pt x="281" y="122"/>
                  </a:lnTo>
                  <a:lnTo>
                    <a:pt x="283" y="124"/>
                  </a:lnTo>
                  <a:lnTo>
                    <a:pt x="285" y="124"/>
                  </a:lnTo>
                  <a:lnTo>
                    <a:pt x="287" y="127"/>
                  </a:lnTo>
                  <a:lnTo>
                    <a:pt x="287" y="127"/>
                  </a:lnTo>
                  <a:lnTo>
                    <a:pt x="287" y="129"/>
                  </a:lnTo>
                  <a:lnTo>
                    <a:pt x="287" y="129"/>
                  </a:lnTo>
                  <a:lnTo>
                    <a:pt x="287" y="134"/>
                  </a:lnTo>
                  <a:lnTo>
                    <a:pt x="287" y="138"/>
                  </a:lnTo>
                  <a:lnTo>
                    <a:pt x="285" y="140"/>
                  </a:lnTo>
                  <a:lnTo>
                    <a:pt x="281" y="143"/>
                  </a:lnTo>
                  <a:lnTo>
                    <a:pt x="281" y="143"/>
                  </a:lnTo>
                  <a:lnTo>
                    <a:pt x="281" y="143"/>
                  </a:lnTo>
                  <a:lnTo>
                    <a:pt x="276" y="145"/>
                  </a:lnTo>
                  <a:lnTo>
                    <a:pt x="199" y="157"/>
                  </a:lnTo>
                  <a:lnTo>
                    <a:pt x="26" y="339"/>
                  </a:lnTo>
                  <a:lnTo>
                    <a:pt x="21" y="339"/>
                  </a:lnTo>
                  <a:lnTo>
                    <a:pt x="16" y="339"/>
                  </a:lnTo>
                  <a:lnTo>
                    <a:pt x="11" y="337"/>
                  </a:lnTo>
                  <a:lnTo>
                    <a:pt x="7" y="333"/>
                  </a:lnTo>
                  <a:lnTo>
                    <a:pt x="4" y="330"/>
                  </a:lnTo>
                  <a:lnTo>
                    <a:pt x="2" y="326"/>
                  </a:lnTo>
                  <a:lnTo>
                    <a:pt x="2" y="323"/>
                  </a:lnTo>
                  <a:lnTo>
                    <a:pt x="0" y="319"/>
                  </a:lnTo>
                  <a:lnTo>
                    <a:pt x="0" y="318"/>
                  </a:lnTo>
                  <a:lnTo>
                    <a:pt x="0" y="316"/>
                  </a:lnTo>
                  <a:lnTo>
                    <a:pt x="0" y="314"/>
                  </a:lnTo>
                  <a:lnTo>
                    <a:pt x="175" y="133"/>
                  </a:lnTo>
                  <a:lnTo>
                    <a:pt x="185" y="58"/>
                  </a:lnTo>
                  <a:lnTo>
                    <a:pt x="187" y="54"/>
                  </a:lnTo>
                  <a:lnTo>
                    <a:pt x="187" y="52"/>
                  </a:lnTo>
                  <a:lnTo>
                    <a:pt x="187" y="51"/>
                  </a:lnTo>
                  <a:lnTo>
                    <a:pt x="187" y="51"/>
                  </a:lnTo>
                  <a:lnTo>
                    <a:pt x="189" y="49"/>
                  </a:lnTo>
                  <a:lnTo>
                    <a:pt x="191" y="47"/>
                  </a:lnTo>
                  <a:lnTo>
                    <a:pt x="191" y="47"/>
                  </a:lnTo>
                  <a:lnTo>
                    <a:pt x="194" y="44"/>
                  </a:lnTo>
                  <a:lnTo>
                    <a:pt x="199" y="44"/>
                  </a:lnTo>
                  <a:lnTo>
                    <a:pt x="203" y="45"/>
                  </a:lnTo>
                  <a:lnTo>
                    <a:pt x="206" y="47"/>
                  </a:lnTo>
                  <a:lnTo>
                    <a:pt x="206" y="47"/>
                  </a:lnTo>
                  <a:lnTo>
                    <a:pt x="208" y="51"/>
                  </a:lnTo>
                  <a:lnTo>
                    <a:pt x="210" y="54"/>
                  </a:lnTo>
                  <a:lnTo>
                    <a:pt x="213" y="59"/>
                  </a:lnTo>
                  <a:lnTo>
                    <a:pt x="217" y="65"/>
                  </a:lnTo>
                  <a:lnTo>
                    <a:pt x="222" y="71"/>
                  </a:lnTo>
                  <a:lnTo>
                    <a:pt x="231" y="12"/>
                  </a:lnTo>
                  <a:lnTo>
                    <a:pt x="231" y="9"/>
                  </a:lnTo>
                  <a:lnTo>
                    <a:pt x="232" y="9"/>
                  </a:lnTo>
                  <a:lnTo>
                    <a:pt x="232" y="7"/>
                  </a:lnTo>
                  <a:lnTo>
                    <a:pt x="232" y="7"/>
                  </a:lnTo>
                  <a:lnTo>
                    <a:pt x="232" y="3"/>
                  </a:lnTo>
                  <a:lnTo>
                    <a:pt x="234" y="2"/>
                  </a:lnTo>
                  <a:lnTo>
                    <a:pt x="236" y="2"/>
                  </a:lnTo>
                  <a:lnTo>
                    <a:pt x="239" y="0"/>
                  </a:lnTo>
                  <a:lnTo>
                    <a:pt x="2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FF0000"/>
                </a:solidFill>
              </a:endParaRPr>
            </a:p>
          </p:txBody>
        </p:sp>
      </p:grpSp>
      <p:sp>
        <p:nvSpPr>
          <p:cNvPr id="2" name="TextBox 1"/>
          <p:cNvSpPr txBox="1"/>
          <p:nvPr/>
        </p:nvSpPr>
        <p:spPr>
          <a:xfrm>
            <a:off x="1870809" y="1096128"/>
            <a:ext cx="1637213" cy="1777410"/>
          </a:xfrm>
          <a:prstGeom prst="rect">
            <a:avLst/>
          </a:prstGeom>
          <a:noFill/>
        </p:spPr>
        <p:txBody>
          <a:bodyPr wrap="square" lIns="0" tIns="0" rIns="0" bIns="0" rtlCol="0">
            <a:spAutoFit/>
          </a:bodyPr>
          <a:lstStyle/>
          <a:p>
            <a:r>
              <a:rPr lang="en-US" sz="1050" b="1" dirty="0" smtClean="0">
                <a:solidFill>
                  <a:schemeClr val="accent4"/>
                </a:solidFill>
              </a:rPr>
              <a:t>Need</a:t>
            </a:r>
            <a:endParaRPr lang="en-US" sz="1050" b="1" dirty="0">
              <a:solidFill>
                <a:schemeClr val="accent4"/>
              </a:solidFill>
            </a:endParaRPr>
          </a:p>
          <a:p>
            <a:pPr marL="171450" indent="-171450">
              <a:buFont typeface="Arial" panose="020B0604020202020204" pitchFamily="34" charset="0"/>
              <a:buChar char="•"/>
            </a:pPr>
            <a:r>
              <a:rPr lang="en-US" sz="1050" dirty="0" smtClean="0">
                <a:solidFill>
                  <a:schemeClr val="accent4"/>
                </a:solidFill>
              </a:rPr>
              <a:t>Predix services</a:t>
            </a:r>
          </a:p>
          <a:p>
            <a:pPr marL="171450" indent="-171450">
              <a:buFont typeface="Arial" panose="020B0604020202020204" pitchFamily="34" charset="0"/>
              <a:buChar char="•"/>
            </a:pPr>
            <a:r>
              <a:rPr lang="en-US" sz="1050" dirty="0" smtClean="0">
                <a:solidFill>
                  <a:schemeClr val="accent4"/>
                </a:solidFill>
              </a:rPr>
              <a:t>Local Govt. partnerships </a:t>
            </a:r>
          </a:p>
          <a:p>
            <a:pPr marL="171450" indent="-171450">
              <a:buFont typeface="Arial" panose="020B0604020202020204" pitchFamily="34" charset="0"/>
              <a:buChar char="•"/>
            </a:pPr>
            <a:r>
              <a:rPr lang="en-US" sz="1050" dirty="0" smtClean="0">
                <a:solidFill>
                  <a:schemeClr val="accent4"/>
                </a:solidFill>
              </a:rPr>
              <a:t>Early </a:t>
            </a:r>
            <a:r>
              <a:rPr lang="en-US" sz="1050" dirty="0">
                <a:solidFill>
                  <a:schemeClr val="accent4"/>
                </a:solidFill>
              </a:rPr>
              <a:t>adopter </a:t>
            </a:r>
            <a:r>
              <a:rPr lang="en-US" sz="1050" dirty="0" smtClean="0">
                <a:solidFill>
                  <a:schemeClr val="accent4"/>
                </a:solidFill>
              </a:rPr>
              <a:t>vendors</a:t>
            </a:r>
            <a:endParaRPr lang="en-US" sz="1050" dirty="0">
              <a:solidFill>
                <a:schemeClr val="accent4"/>
              </a:solidFill>
            </a:endParaRPr>
          </a:p>
          <a:p>
            <a:pPr marL="171450" indent="-171450">
              <a:buFont typeface="Arial" panose="020B0604020202020204" pitchFamily="34" charset="0"/>
              <a:buChar char="•"/>
            </a:pPr>
            <a:endParaRPr lang="en-US" sz="1050" dirty="0">
              <a:solidFill>
                <a:schemeClr val="accent4"/>
              </a:solidFill>
            </a:endParaRPr>
          </a:p>
          <a:p>
            <a:endParaRPr lang="en-US" sz="1050" dirty="0">
              <a:solidFill>
                <a:schemeClr val="accent4"/>
              </a:solidFill>
            </a:endParaRPr>
          </a:p>
          <a:p>
            <a:r>
              <a:rPr lang="en-US" sz="1050" b="1" dirty="0" smtClean="0">
                <a:solidFill>
                  <a:schemeClr val="accent4"/>
                </a:solidFill>
              </a:rPr>
              <a:t>Have</a:t>
            </a:r>
            <a:endParaRPr lang="en-US" sz="1050" b="1" dirty="0">
              <a:solidFill>
                <a:schemeClr val="accent4"/>
              </a:solidFill>
            </a:endParaRPr>
          </a:p>
          <a:p>
            <a:pPr marL="171450" indent="-171450">
              <a:buFont typeface="Arial" panose="020B0604020202020204" pitchFamily="34" charset="0"/>
              <a:buChar char="•"/>
            </a:pPr>
            <a:r>
              <a:rPr lang="en-US" sz="1050" dirty="0" smtClean="0">
                <a:solidFill>
                  <a:schemeClr val="accent4"/>
                </a:solidFill>
              </a:rPr>
              <a:t>Management team</a:t>
            </a:r>
          </a:p>
          <a:p>
            <a:pPr marL="171450" indent="-171450">
              <a:buFont typeface="Arial" panose="020B0604020202020204" pitchFamily="34" charset="0"/>
              <a:buChar char="•"/>
            </a:pPr>
            <a:r>
              <a:rPr lang="en-US" sz="1050" dirty="0" smtClean="0">
                <a:solidFill>
                  <a:schemeClr val="accent4"/>
                </a:solidFill>
              </a:rPr>
              <a:t>GE Current Sensors</a:t>
            </a:r>
            <a:endParaRPr lang="en-US" sz="1050" dirty="0">
              <a:solidFill>
                <a:schemeClr val="accent4"/>
              </a:solidFill>
            </a:endParaRPr>
          </a:p>
          <a:p>
            <a:pPr marL="171450" indent="-171450">
              <a:buFont typeface="Arial" panose="020B0604020202020204" pitchFamily="34" charset="0"/>
              <a:buChar char="•"/>
            </a:pPr>
            <a:r>
              <a:rPr lang="en-US" sz="1050" dirty="0">
                <a:solidFill>
                  <a:schemeClr val="accent4"/>
                </a:solidFill>
              </a:rPr>
              <a:t>VC interest</a:t>
            </a:r>
          </a:p>
          <a:p>
            <a:pPr marL="171450" indent="-171450">
              <a:buFont typeface="Arial" panose="020B0604020202020204" pitchFamily="34" charset="0"/>
              <a:buChar char="•"/>
            </a:pPr>
            <a:r>
              <a:rPr lang="en-US" sz="1050" dirty="0">
                <a:solidFill>
                  <a:schemeClr val="accent4"/>
                </a:solidFill>
              </a:rPr>
              <a:t>Intellectual property</a:t>
            </a:r>
          </a:p>
        </p:txBody>
      </p:sp>
      <p:sp>
        <p:nvSpPr>
          <p:cNvPr id="70" name="TextBox 69"/>
          <p:cNvSpPr txBox="1"/>
          <p:nvPr/>
        </p:nvSpPr>
        <p:spPr>
          <a:xfrm>
            <a:off x="3655122" y="1168137"/>
            <a:ext cx="1690402" cy="807913"/>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smtClean="0">
                <a:solidFill>
                  <a:schemeClr val="accent4"/>
                </a:solidFill>
              </a:rPr>
              <a:t>Improve prototype app</a:t>
            </a:r>
          </a:p>
          <a:p>
            <a:pPr marL="171450" indent="-171450">
              <a:buFont typeface="Arial" panose="020B0604020202020204" pitchFamily="34" charset="0"/>
              <a:buChar char="•"/>
            </a:pPr>
            <a:r>
              <a:rPr lang="en-US" sz="1050" dirty="0" smtClean="0">
                <a:solidFill>
                  <a:schemeClr val="accent4"/>
                </a:solidFill>
              </a:rPr>
              <a:t>Gauge demand</a:t>
            </a:r>
          </a:p>
          <a:p>
            <a:pPr marL="171450" indent="-171450">
              <a:buFont typeface="Arial" panose="020B0604020202020204" pitchFamily="34" charset="0"/>
              <a:buChar char="•"/>
            </a:pPr>
            <a:r>
              <a:rPr lang="en-US" sz="1050" dirty="0" smtClean="0">
                <a:solidFill>
                  <a:schemeClr val="accent4"/>
                </a:solidFill>
              </a:rPr>
              <a:t>Lock-in </a:t>
            </a:r>
            <a:r>
              <a:rPr lang="en-US" sz="1050" dirty="0">
                <a:solidFill>
                  <a:schemeClr val="accent4"/>
                </a:solidFill>
              </a:rPr>
              <a:t>first customer</a:t>
            </a:r>
          </a:p>
          <a:p>
            <a:pPr marL="171450" indent="-171450">
              <a:buFont typeface="Arial" panose="020B0604020202020204" pitchFamily="34" charset="0"/>
              <a:buChar char="•"/>
            </a:pPr>
            <a:r>
              <a:rPr lang="en-US" sz="1050" dirty="0" smtClean="0">
                <a:solidFill>
                  <a:schemeClr val="accent4"/>
                </a:solidFill>
              </a:rPr>
              <a:t>Define licensing fee</a:t>
            </a:r>
          </a:p>
          <a:p>
            <a:pPr marL="171450" indent="-171450">
              <a:buFont typeface="Arial" panose="020B0604020202020204" pitchFamily="34" charset="0"/>
              <a:buChar char="•"/>
            </a:pPr>
            <a:r>
              <a:rPr lang="en-US" sz="1050" dirty="0" smtClean="0">
                <a:solidFill>
                  <a:schemeClr val="accent4"/>
                </a:solidFill>
              </a:rPr>
              <a:t>Define valuation</a:t>
            </a:r>
            <a:endParaRPr lang="en-US" sz="1050" dirty="0">
              <a:solidFill>
                <a:schemeClr val="accent4"/>
              </a:solidFill>
            </a:endParaRPr>
          </a:p>
        </p:txBody>
      </p:sp>
      <p:sp>
        <p:nvSpPr>
          <p:cNvPr id="72" name="TextBox 71"/>
          <p:cNvSpPr txBox="1"/>
          <p:nvPr/>
        </p:nvSpPr>
        <p:spPr>
          <a:xfrm>
            <a:off x="3625107" y="2951450"/>
            <a:ext cx="1690402" cy="145424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solidFill>
                  <a:schemeClr val="accent4"/>
                </a:solidFill>
              </a:rPr>
              <a:t>Engineering – </a:t>
            </a:r>
            <a:r>
              <a:rPr lang="en-US" sz="1050" dirty="0" smtClean="0">
                <a:solidFill>
                  <a:schemeClr val="accent4"/>
                </a:solidFill>
              </a:rPr>
              <a:t>Backend, User Interface, Analytics</a:t>
            </a:r>
          </a:p>
          <a:p>
            <a:pPr marL="171450" indent="-171450">
              <a:buFont typeface="Arial" panose="020B0604020202020204" pitchFamily="34" charset="0"/>
              <a:buChar char="•"/>
            </a:pPr>
            <a:r>
              <a:rPr lang="en-US" sz="1050" dirty="0" smtClean="0">
                <a:solidFill>
                  <a:schemeClr val="accent4"/>
                </a:solidFill>
              </a:rPr>
              <a:t>Predix services </a:t>
            </a:r>
            <a:endParaRPr lang="en-US" sz="1050" dirty="0">
              <a:solidFill>
                <a:schemeClr val="accent4"/>
              </a:solidFill>
            </a:endParaRPr>
          </a:p>
          <a:p>
            <a:pPr marL="171450" indent="-171450">
              <a:buFont typeface="Arial" panose="020B0604020202020204" pitchFamily="34" charset="0"/>
              <a:buChar char="•"/>
            </a:pPr>
            <a:r>
              <a:rPr lang="en-US" sz="1050" dirty="0">
                <a:solidFill>
                  <a:schemeClr val="accent4"/>
                </a:solidFill>
              </a:rPr>
              <a:t>Marketing material (video</a:t>
            </a:r>
            <a:r>
              <a:rPr lang="en-US" sz="1050" dirty="0" smtClean="0">
                <a:solidFill>
                  <a:schemeClr val="accent4"/>
                </a:solidFill>
              </a:rPr>
              <a:t>)</a:t>
            </a:r>
            <a:endParaRPr lang="en-US" sz="1050" dirty="0">
              <a:solidFill>
                <a:schemeClr val="accent4"/>
              </a:solidFill>
            </a:endParaRPr>
          </a:p>
          <a:p>
            <a:pPr marL="171450" indent="-171450">
              <a:buFont typeface="Arial" panose="020B0604020202020204" pitchFamily="34" charset="0"/>
              <a:buChar char="•"/>
            </a:pPr>
            <a:r>
              <a:rPr lang="en-US" sz="1050" dirty="0">
                <a:solidFill>
                  <a:schemeClr val="accent4"/>
                </a:solidFill>
              </a:rPr>
              <a:t>Seed funding </a:t>
            </a:r>
            <a:r>
              <a:rPr lang="en-US" sz="1050" dirty="0" smtClean="0">
                <a:solidFill>
                  <a:schemeClr val="accent4"/>
                </a:solidFill>
              </a:rPr>
              <a:t>from Ventures</a:t>
            </a:r>
            <a:endParaRPr lang="en-US" sz="1050" dirty="0">
              <a:solidFill>
                <a:schemeClr val="accent4"/>
              </a:solidFill>
            </a:endParaRPr>
          </a:p>
          <a:p>
            <a:pPr marL="171450" indent="-171450">
              <a:buFont typeface="Arial" panose="020B0604020202020204" pitchFamily="34" charset="0"/>
              <a:buChar char="•"/>
            </a:pPr>
            <a:endParaRPr lang="en-US" sz="1050" dirty="0">
              <a:solidFill>
                <a:schemeClr val="accent4"/>
              </a:solidFill>
            </a:endParaRPr>
          </a:p>
          <a:p>
            <a:pPr marL="171450" indent="-171450">
              <a:buFont typeface="Arial" panose="020B0604020202020204" pitchFamily="34" charset="0"/>
              <a:buChar char="•"/>
            </a:pPr>
            <a:endParaRPr lang="en-US" sz="1050" dirty="0">
              <a:solidFill>
                <a:schemeClr val="accent4"/>
              </a:solidFill>
            </a:endParaRPr>
          </a:p>
          <a:p>
            <a:pPr marL="171450" indent="-171450">
              <a:buFont typeface="Arial" panose="020B0604020202020204" pitchFamily="34" charset="0"/>
              <a:buChar char="•"/>
            </a:pPr>
            <a:endParaRPr lang="en-US" sz="1050" dirty="0">
              <a:solidFill>
                <a:schemeClr val="accent4"/>
              </a:solidFill>
            </a:endParaRPr>
          </a:p>
        </p:txBody>
      </p:sp>
      <p:sp>
        <p:nvSpPr>
          <p:cNvPr id="73" name="TextBox 72"/>
          <p:cNvSpPr txBox="1"/>
          <p:nvPr/>
        </p:nvSpPr>
        <p:spPr>
          <a:xfrm>
            <a:off x="5367201" y="2997777"/>
            <a:ext cx="1690402" cy="1777410"/>
          </a:xfrm>
          <a:prstGeom prst="rect">
            <a:avLst/>
          </a:prstGeom>
          <a:noFill/>
        </p:spPr>
        <p:txBody>
          <a:bodyPr wrap="square" lIns="0" tIns="0" rIns="0" bIns="0" rtlCol="0">
            <a:spAutoFit/>
          </a:bodyPr>
          <a:lstStyle/>
          <a:p>
            <a:r>
              <a:rPr lang="en-US" sz="1050" b="1" dirty="0" smtClean="0">
                <a:solidFill>
                  <a:schemeClr val="accent4"/>
                </a:solidFill>
              </a:rPr>
              <a:t>Local Governments</a:t>
            </a:r>
          </a:p>
          <a:p>
            <a:pPr marL="171450" indent="-171450">
              <a:buFont typeface="Arial" charset="0"/>
              <a:buChar char="•"/>
            </a:pPr>
            <a:r>
              <a:rPr lang="en-US" sz="1050" dirty="0" smtClean="0">
                <a:solidFill>
                  <a:schemeClr val="accent4"/>
                </a:solidFill>
              </a:rPr>
              <a:t>Providing real time data of traffic and pedestrian patterns around prime construction sites for smart city planning</a:t>
            </a:r>
          </a:p>
          <a:p>
            <a:pPr marL="171450" indent="-171450">
              <a:buFont typeface="Arial" charset="0"/>
              <a:buChar char="•"/>
            </a:pPr>
            <a:r>
              <a:rPr lang="en-US" sz="1050" dirty="0" smtClean="0">
                <a:solidFill>
                  <a:schemeClr val="accent4"/>
                </a:solidFill>
              </a:rPr>
              <a:t>Highlighting environmental data of areas surrounding construction sites to better determine clean-up costs </a:t>
            </a:r>
            <a:endParaRPr lang="en-US" sz="1050" dirty="0">
              <a:solidFill>
                <a:schemeClr val="accent4"/>
              </a:solidFill>
            </a:endParaRPr>
          </a:p>
        </p:txBody>
      </p:sp>
      <p:sp>
        <p:nvSpPr>
          <p:cNvPr id="75" name="TextBox 74"/>
          <p:cNvSpPr txBox="1"/>
          <p:nvPr/>
        </p:nvSpPr>
        <p:spPr>
          <a:xfrm>
            <a:off x="5375858" y="1090332"/>
            <a:ext cx="1687075" cy="1938992"/>
          </a:xfrm>
          <a:prstGeom prst="rect">
            <a:avLst/>
          </a:prstGeom>
          <a:noFill/>
        </p:spPr>
        <p:txBody>
          <a:bodyPr wrap="square" lIns="0" tIns="0" rIns="0" bIns="0" rtlCol="0">
            <a:spAutoFit/>
          </a:bodyPr>
          <a:lstStyle/>
          <a:p>
            <a:r>
              <a:rPr lang="en-US" sz="1050" b="1" dirty="0" smtClean="0">
                <a:solidFill>
                  <a:schemeClr val="accent4"/>
                </a:solidFill>
              </a:rPr>
              <a:t>Construction Companies</a:t>
            </a:r>
          </a:p>
          <a:p>
            <a:pPr marL="171450" indent="-171450">
              <a:buFont typeface="Arial" charset="0"/>
              <a:buChar char="•"/>
            </a:pPr>
            <a:r>
              <a:rPr lang="en-US" sz="1050" dirty="0" smtClean="0">
                <a:solidFill>
                  <a:schemeClr val="accent4"/>
                </a:solidFill>
              </a:rPr>
              <a:t>Current Vision delivers a solution to significantly increase efficiency and reduce costs by highlighting pedestrian patterns and traffic data throughout the city</a:t>
            </a:r>
          </a:p>
          <a:p>
            <a:pPr marL="171450" indent="-171450">
              <a:buFont typeface="Arial" charset="0"/>
              <a:buChar char="•"/>
            </a:pPr>
            <a:r>
              <a:rPr lang="en-US" sz="1050" dirty="0" smtClean="0">
                <a:solidFill>
                  <a:schemeClr val="accent4"/>
                </a:solidFill>
              </a:rPr>
              <a:t>Provides real time analytics to suggest optimal times for construction </a:t>
            </a:r>
          </a:p>
        </p:txBody>
      </p:sp>
      <p:sp>
        <p:nvSpPr>
          <p:cNvPr id="77" name="TextBox 76"/>
          <p:cNvSpPr txBox="1"/>
          <p:nvPr/>
        </p:nvSpPr>
        <p:spPr>
          <a:xfrm>
            <a:off x="7122127" y="3670229"/>
            <a:ext cx="1690402" cy="807913"/>
          </a:xfrm>
          <a:prstGeom prst="rect">
            <a:avLst/>
          </a:prstGeom>
          <a:noFill/>
        </p:spPr>
        <p:txBody>
          <a:bodyPr wrap="square" lIns="0" tIns="0" rIns="0" bIns="0" rtlCol="0">
            <a:spAutoFit/>
          </a:bodyPr>
          <a:lstStyle/>
          <a:p>
            <a:pPr marL="171450" indent="-171450">
              <a:buFont typeface="Arial" charset="0"/>
              <a:buChar char="•"/>
            </a:pPr>
            <a:r>
              <a:rPr lang="en-US" sz="1050" dirty="0" smtClean="0">
                <a:solidFill>
                  <a:schemeClr val="accent4"/>
                </a:solidFill>
              </a:rPr>
              <a:t>Web Application</a:t>
            </a:r>
          </a:p>
          <a:p>
            <a:pPr marL="171450" indent="-171450">
              <a:buFont typeface="Arial" charset="0"/>
              <a:buChar char="•"/>
            </a:pPr>
            <a:r>
              <a:rPr lang="en-US" sz="1050" dirty="0" smtClean="0">
                <a:solidFill>
                  <a:schemeClr val="accent4"/>
                </a:solidFill>
              </a:rPr>
              <a:t>Government contacts</a:t>
            </a:r>
          </a:p>
          <a:p>
            <a:pPr marL="171450" indent="-171450">
              <a:buFont typeface="Arial" charset="0"/>
              <a:buChar char="•"/>
            </a:pPr>
            <a:r>
              <a:rPr lang="en-US" sz="1050" dirty="0" smtClean="0">
                <a:solidFill>
                  <a:schemeClr val="accent4"/>
                </a:solidFill>
              </a:rPr>
              <a:t>GE Industrial relationships</a:t>
            </a:r>
          </a:p>
          <a:p>
            <a:pPr marL="171450" indent="-171450">
              <a:buFont typeface="Arial" charset="0"/>
              <a:buChar char="•"/>
            </a:pPr>
            <a:r>
              <a:rPr lang="en-US" sz="1050" dirty="0" smtClean="0">
                <a:solidFill>
                  <a:schemeClr val="accent4"/>
                </a:solidFill>
              </a:rPr>
              <a:t>American Society of Civil Engineers (ASCE) </a:t>
            </a:r>
            <a:endParaRPr lang="en-US" sz="1050" dirty="0">
              <a:solidFill>
                <a:schemeClr val="accent4"/>
              </a:solidFill>
            </a:endParaRPr>
          </a:p>
        </p:txBody>
      </p:sp>
      <p:sp>
        <p:nvSpPr>
          <p:cNvPr id="3" name="Rectangle 2"/>
          <p:cNvSpPr/>
          <p:nvPr/>
        </p:nvSpPr>
        <p:spPr>
          <a:xfrm>
            <a:off x="8855082" y="1050475"/>
            <a:ext cx="2009638" cy="3647152"/>
          </a:xfrm>
          <a:prstGeom prst="rect">
            <a:avLst/>
          </a:prstGeom>
        </p:spPr>
        <p:txBody>
          <a:bodyPr wrap="square">
            <a:spAutoFit/>
          </a:bodyPr>
          <a:lstStyle/>
          <a:p>
            <a:r>
              <a:rPr lang="en-US" sz="1100" b="1" dirty="0" smtClean="0">
                <a:solidFill>
                  <a:schemeClr val="accent4"/>
                </a:solidFill>
              </a:rPr>
              <a:t>Construction Companies</a:t>
            </a:r>
            <a:endParaRPr lang="en-US" sz="1100" b="1" dirty="0">
              <a:solidFill>
                <a:schemeClr val="accent4"/>
              </a:solidFill>
            </a:endParaRPr>
          </a:p>
          <a:p>
            <a:pPr marL="171450" indent="-171450">
              <a:buFont typeface="Arial" panose="020B0604020202020204" pitchFamily="34" charset="0"/>
              <a:buChar char="•"/>
            </a:pPr>
            <a:r>
              <a:rPr lang="en-US" sz="1100" dirty="0" smtClean="0">
                <a:solidFill>
                  <a:schemeClr val="accent4"/>
                </a:solidFill>
              </a:rPr>
              <a:t>Primarily city Construction firms affecting pedestrian flow</a:t>
            </a:r>
          </a:p>
          <a:p>
            <a:pPr marL="171450" indent="-171450">
              <a:buFont typeface="Arial" panose="020B0604020202020204" pitchFamily="34" charset="0"/>
              <a:buChar char="•"/>
            </a:pPr>
            <a:r>
              <a:rPr lang="en-US" sz="1100" dirty="0" smtClean="0">
                <a:solidFill>
                  <a:schemeClr val="accent4"/>
                </a:solidFill>
              </a:rPr>
              <a:t>Conducting construction in city areas within GE Current’s sensor radius</a:t>
            </a:r>
            <a:endParaRPr lang="en-US" sz="1100" b="1" dirty="0" smtClean="0">
              <a:solidFill>
                <a:schemeClr val="accent4"/>
              </a:solidFill>
            </a:endParaRPr>
          </a:p>
          <a:p>
            <a:endParaRPr lang="en-US" sz="1100" b="1" dirty="0">
              <a:solidFill>
                <a:schemeClr val="accent4"/>
              </a:solidFill>
            </a:endParaRPr>
          </a:p>
          <a:p>
            <a:endParaRPr lang="en-US" sz="1100" b="1" dirty="0" smtClean="0">
              <a:solidFill>
                <a:schemeClr val="accent4"/>
              </a:solidFill>
            </a:endParaRPr>
          </a:p>
          <a:p>
            <a:r>
              <a:rPr lang="en-US" sz="1100" b="1" dirty="0" smtClean="0">
                <a:solidFill>
                  <a:schemeClr val="accent4"/>
                </a:solidFill>
              </a:rPr>
              <a:t>Local Governments</a:t>
            </a:r>
          </a:p>
          <a:p>
            <a:pPr marL="171450" indent="-171450">
              <a:buFont typeface="Arial" charset="0"/>
              <a:buChar char="•"/>
            </a:pPr>
            <a:r>
              <a:rPr lang="en-US" sz="1100" dirty="0" smtClean="0">
                <a:solidFill>
                  <a:schemeClr val="accent4"/>
                </a:solidFill>
              </a:rPr>
              <a:t>Better city </a:t>
            </a:r>
            <a:r>
              <a:rPr lang="en-US" sz="1100" dirty="0">
                <a:solidFill>
                  <a:schemeClr val="accent4"/>
                </a:solidFill>
              </a:rPr>
              <a:t>p</a:t>
            </a:r>
            <a:r>
              <a:rPr lang="en-US" sz="1100" dirty="0" smtClean="0">
                <a:solidFill>
                  <a:schemeClr val="accent4"/>
                </a:solidFill>
              </a:rPr>
              <a:t>lanning capabilities</a:t>
            </a:r>
          </a:p>
          <a:p>
            <a:pPr marL="171450" indent="-171450">
              <a:buFont typeface="Arial" charset="0"/>
              <a:buChar char="•"/>
            </a:pPr>
            <a:r>
              <a:rPr lang="en-US" sz="1100" dirty="0" smtClean="0">
                <a:solidFill>
                  <a:schemeClr val="accent4"/>
                </a:solidFill>
              </a:rPr>
              <a:t>Concerned with environmental impact of construction firms</a:t>
            </a:r>
          </a:p>
          <a:p>
            <a:pPr marL="171450" indent="-171450">
              <a:buFont typeface="Arial" charset="0"/>
              <a:buChar char="•"/>
            </a:pPr>
            <a:r>
              <a:rPr lang="en-US" sz="1100" dirty="0" smtClean="0">
                <a:solidFill>
                  <a:schemeClr val="accent4"/>
                </a:solidFill>
              </a:rPr>
              <a:t>Pedestrian Safety</a:t>
            </a:r>
            <a:r>
              <a:rPr lang="en-US" sz="1100" dirty="0" smtClean="0">
                <a:solidFill>
                  <a:srgbClr val="FF0000"/>
                </a:solidFill>
              </a:rPr>
              <a:t> </a:t>
            </a:r>
            <a:endParaRPr lang="en-US" sz="1100" dirty="0" smtClean="0">
              <a:solidFill>
                <a:schemeClr val="accent4"/>
              </a:solidFill>
            </a:endParaRPr>
          </a:p>
          <a:p>
            <a:pPr marL="171450" indent="-171450">
              <a:buFont typeface="Arial" charset="0"/>
              <a:buChar char="•"/>
            </a:pPr>
            <a:r>
              <a:rPr lang="en-US" sz="1100" dirty="0" smtClean="0">
                <a:solidFill>
                  <a:schemeClr val="accent4"/>
                </a:solidFill>
              </a:rPr>
              <a:t>Larger use case potential for overall city planning in addition to provisioning around construction sites </a:t>
            </a:r>
            <a:endParaRPr lang="en-US" sz="1100" dirty="0">
              <a:solidFill>
                <a:schemeClr val="accent4"/>
              </a:solidFill>
            </a:endParaRPr>
          </a:p>
          <a:p>
            <a:endParaRPr lang="en-US" sz="1100" dirty="0">
              <a:solidFill>
                <a:srgbClr val="FF0000"/>
              </a:solidFill>
            </a:endParaRPr>
          </a:p>
        </p:txBody>
      </p:sp>
      <p:sp>
        <p:nvSpPr>
          <p:cNvPr id="79" name="TextBox 78"/>
          <p:cNvSpPr txBox="1"/>
          <p:nvPr/>
        </p:nvSpPr>
        <p:spPr>
          <a:xfrm>
            <a:off x="6285222" y="5120606"/>
            <a:ext cx="4315096" cy="484748"/>
          </a:xfrm>
          <a:prstGeom prst="rect">
            <a:avLst/>
          </a:prstGeom>
          <a:noFill/>
        </p:spPr>
        <p:txBody>
          <a:bodyPr wrap="square" lIns="0" tIns="0" rIns="0" bIns="0" rtlCol="0">
            <a:spAutoFit/>
          </a:bodyPr>
          <a:lstStyle/>
          <a:p>
            <a:pPr marL="228600" indent="-228600">
              <a:buFont typeface="Arial" panose="020B0604020202020204" pitchFamily="34" charset="0"/>
              <a:buChar char="•"/>
            </a:pPr>
            <a:r>
              <a:rPr lang="en-US" sz="1050" dirty="0" smtClean="0">
                <a:solidFill>
                  <a:schemeClr val="accent4"/>
                </a:solidFill>
              </a:rPr>
              <a:t>Yearly licensing fee from Construction companies and Government</a:t>
            </a:r>
            <a:endParaRPr lang="en-US" sz="1050" dirty="0">
              <a:solidFill>
                <a:schemeClr val="accent4"/>
              </a:solidFill>
            </a:endParaRPr>
          </a:p>
          <a:p>
            <a:pPr marL="228600" indent="-228600">
              <a:buFont typeface="Arial" panose="020B0604020202020204" pitchFamily="34" charset="0"/>
              <a:buChar char="•"/>
            </a:pPr>
            <a:r>
              <a:rPr lang="en-US" sz="1050" dirty="0" smtClean="0">
                <a:solidFill>
                  <a:schemeClr val="accent4"/>
                </a:solidFill>
              </a:rPr>
              <a:t>Joint Partnerships with construction firms</a:t>
            </a:r>
            <a:endParaRPr lang="en-US" sz="1050" dirty="0">
              <a:solidFill>
                <a:schemeClr val="accent4"/>
              </a:solidFill>
            </a:endParaRPr>
          </a:p>
          <a:p>
            <a:pPr marL="228600" indent="-228600">
              <a:buFont typeface="Arial" panose="020B0604020202020204" pitchFamily="34" charset="0"/>
              <a:buChar char="•"/>
            </a:pPr>
            <a:r>
              <a:rPr lang="en-US" sz="1050" dirty="0">
                <a:solidFill>
                  <a:schemeClr val="accent4"/>
                </a:solidFill>
              </a:rPr>
              <a:t>Add-ons: </a:t>
            </a:r>
            <a:r>
              <a:rPr lang="en-US" sz="1050" dirty="0" smtClean="0">
                <a:solidFill>
                  <a:schemeClr val="accent4"/>
                </a:solidFill>
              </a:rPr>
              <a:t>enhanced analytics</a:t>
            </a:r>
            <a:endParaRPr lang="en-US" sz="1050" dirty="0">
              <a:solidFill>
                <a:schemeClr val="accent4"/>
              </a:solidFill>
            </a:endParaRPr>
          </a:p>
        </p:txBody>
      </p:sp>
      <p:sp>
        <p:nvSpPr>
          <p:cNvPr id="80" name="TextBox 79"/>
          <p:cNvSpPr txBox="1"/>
          <p:nvPr/>
        </p:nvSpPr>
        <p:spPr>
          <a:xfrm>
            <a:off x="1866454" y="5120606"/>
            <a:ext cx="3925077" cy="64633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solidFill>
                  <a:schemeClr val="accent4"/>
                </a:solidFill>
              </a:rPr>
              <a:t>People – </a:t>
            </a:r>
            <a:r>
              <a:rPr lang="en-US" sz="1050" dirty="0" smtClean="0">
                <a:solidFill>
                  <a:schemeClr val="accent4"/>
                </a:solidFill>
              </a:rPr>
              <a:t>Sales Team, Full Stack Engineers, Support team</a:t>
            </a:r>
            <a:endParaRPr lang="en-US" sz="1050" dirty="0">
              <a:solidFill>
                <a:schemeClr val="accent4"/>
              </a:solidFill>
            </a:endParaRPr>
          </a:p>
          <a:p>
            <a:pPr marL="171450" indent="-171450">
              <a:buFont typeface="Arial" panose="020B0604020202020204" pitchFamily="34" charset="0"/>
              <a:buChar char="•"/>
            </a:pPr>
            <a:r>
              <a:rPr lang="en-US" sz="1050" dirty="0">
                <a:solidFill>
                  <a:schemeClr val="accent4"/>
                </a:solidFill>
              </a:rPr>
              <a:t>Runtime costs – </a:t>
            </a:r>
            <a:r>
              <a:rPr lang="en-US" sz="1050" dirty="0" smtClean="0">
                <a:solidFill>
                  <a:schemeClr val="accent4"/>
                </a:solidFill>
              </a:rPr>
              <a:t>Cloud infrastructure, Predix services, Data Storage</a:t>
            </a:r>
            <a:endParaRPr lang="en-US" sz="1050" dirty="0">
              <a:solidFill>
                <a:schemeClr val="accent4"/>
              </a:solidFill>
            </a:endParaRPr>
          </a:p>
          <a:p>
            <a:pPr marL="171450" indent="-171450">
              <a:buFont typeface="Arial" panose="020B0604020202020204" pitchFamily="34" charset="0"/>
              <a:buChar char="•"/>
            </a:pPr>
            <a:r>
              <a:rPr lang="en-US" sz="1050" dirty="0">
                <a:solidFill>
                  <a:schemeClr val="accent4"/>
                </a:solidFill>
              </a:rPr>
              <a:t>Sales/marketing– </a:t>
            </a:r>
            <a:r>
              <a:rPr lang="en-US" sz="1050" dirty="0" smtClean="0">
                <a:solidFill>
                  <a:schemeClr val="accent4"/>
                </a:solidFill>
              </a:rPr>
              <a:t>software demo, promo video</a:t>
            </a:r>
            <a:endParaRPr lang="en-US" sz="1050" dirty="0">
              <a:solidFill>
                <a:schemeClr val="accent4"/>
              </a:solidFill>
            </a:endParaRPr>
          </a:p>
          <a:p>
            <a:pPr marL="171450" indent="-171450">
              <a:buFont typeface="Arial" panose="020B0604020202020204" pitchFamily="34" charset="0"/>
              <a:buChar char="•"/>
            </a:pPr>
            <a:r>
              <a:rPr lang="en-US" sz="1050" dirty="0">
                <a:solidFill>
                  <a:schemeClr val="accent4"/>
                </a:solidFill>
              </a:rPr>
              <a:t>Other </a:t>
            </a:r>
            <a:r>
              <a:rPr lang="en-US" sz="1050" dirty="0" smtClean="0">
                <a:solidFill>
                  <a:schemeClr val="accent4"/>
                </a:solidFill>
              </a:rPr>
              <a:t>– Maintenance  Costs</a:t>
            </a:r>
            <a:endParaRPr lang="en-US" sz="1050" dirty="0">
              <a:solidFill>
                <a:schemeClr val="accent4"/>
              </a:solidFill>
            </a:endParaRPr>
          </a:p>
        </p:txBody>
      </p:sp>
      <p:sp>
        <p:nvSpPr>
          <p:cNvPr id="78" name="Rectangle 77"/>
          <p:cNvSpPr/>
          <p:nvPr/>
        </p:nvSpPr>
        <p:spPr>
          <a:xfrm>
            <a:off x="7183871" y="1039801"/>
            <a:ext cx="1721663" cy="1277273"/>
          </a:xfrm>
          <a:prstGeom prst="rect">
            <a:avLst/>
          </a:prstGeom>
        </p:spPr>
        <p:txBody>
          <a:bodyPr wrap="square">
            <a:spAutoFit/>
          </a:bodyPr>
          <a:lstStyle/>
          <a:p>
            <a:r>
              <a:rPr lang="en-US" sz="1100" b="1" dirty="0" smtClean="0">
                <a:solidFill>
                  <a:schemeClr val="accent4"/>
                </a:solidFill>
              </a:rPr>
              <a:t>All Segments</a:t>
            </a:r>
            <a:endParaRPr lang="en-US" sz="1100" b="1" dirty="0">
              <a:solidFill>
                <a:schemeClr val="accent4"/>
              </a:solidFill>
            </a:endParaRPr>
          </a:p>
          <a:p>
            <a:pPr marL="171450" indent="-171450">
              <a:buFont typeface="Arial" panose="020B0604020202020204" pitchFamily="34" charset="0"/>
              <a:buChar char="•"/>
            </a:pPr>
            <a:r>
              <a:rPr lang="en-US" sz="1100" dirty="0">
                <a:solidFill>
                  <a:schemeClr val="accent4"/>
                </a:solidFill>
              </a:rPr>
              <a:t>Self service API access</a:t>
            </a:r>
          </a:p>
          <a:p>
            <a:pPr marL="171450" indent="-171450">
              <a:buFont typeface="Arial" panose="020B0604020202020204" pitchFamily="34" charset="0"/>
              <a:buChar char="•"/>
            </a:pPr>
            <a:r>
              <a:rPr lang="en-US" sz="1100" dirty="0">
                <a:solidFill>
                  <a:schemeClr val="accent4"/>
                </a:solidFill>
              </a:rPr>
              <a:t>24x7 support</a:t>
            </a:r>
          </a:p>
          <a:p>
            <a:pPr marL="171450" indent="-171450">
              <a:buFont typeface="Arial" panose="020B0604020202020204" pitchFamily="34" charset="0"/>
              <a:buChar char="•"/>
            </a:pPr>
            <a:r>
              <a:rPr lang="en-US" sz="1100" dirty="0" smtClean="0">
                <a:solidFill>
                  <a:schemeClr val="accent4"/>
                </a:solidFill>
              </a:rPr>
              <a:t>Increasing efficiency</a:t>
            </a:r>
          </a:p>
          <a:p>
            <a:pPr marL="171450" indent="-171450">
              <a:buFont typeface="Arial" panose="020B0604020202020204" pitchFamily="34" charset="0"/>
              <a:buChar char="•"/>
            </a:pPr>
            <a:r>
              <a:rPr lang="en-US" sz="1100" dirty="0" smtClean="0">
                <a:solidFill>
                  <a:schemeClr val="accent4"/>
                </a:solidFill>
              </a:rPr>
              <a:t>Reducing costs</a:t>
            </a:r>
            <a:endParaRPr lang="en-US" sz="1100" dirty="0">
              <a:solidFill>
                <a:schemeClr val="accent4"/>
              </a:solidFill>
            </a:endParaRPr>
          </a:p>
          <a:p>
            <a:pPr marL="171450" indent="-171450">
              <a:buFont typeface="Arial" panose="020B0604020202020204" pitchFamily="34" charset="0"/>
              <a:buChar char="•"/>
            </a:pPr>
            <a:r>
              <a:rPr lang="en-US" sz="1100" dirty="0" smtClean="0">
                <a:solidFill>
                  <a:schemeClr val="accent4"/>
                </a:solidFill>
              </a:rPr>
              <a:t>Building smarter, safer cities</a:t>
            </a:r>
          </a:p>
        </p:txBody>
      </p:sp>
      <p:sp>
        <p:nvSpPr>
          <p:cNvPr id="16" name="Rectangle 15"/>
          <p:cNvSpPr/>
          <p:nvPr/>
        </p:nvSpPr>
        <p:spPr>
          <a:xfrm>
            <a:off x="6206046" y="4763459"/>
            <a:ext cx="4536377" cy="1599815"/>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76" name="Title 5"/>
          <p:cNvSpPr>
            <a:spLocks noGrp="1"/>
          </p:cNvSpPr>
          <p:nvPr>
            <p:ph type="title"/>
          </p:nvPr>
        </p:nvSpPr>
        <p:spPr>
          <a:xfrm>
            <a:off x="1166660" y="29006"/>
            <a:ext cx="10091484" cy="914400"/>
          </a:xfrm>
        </p:spPr>
        <p:txBody>
          <a:bodyPr/>
          <a:lstStyle/>
          <a:p>
            <a:r>
              <a:rPr lang="en-US" dirty="0" smtClean="0"/>
              <a:t>Current Vision </a:t>
            </a:r>
            <a:r>
              <a:rPr lang="en-US" dirty="0"/>
              <a:t>| </a:t>
            </a:r>
            <a:r>
              <a:rPr lang="en-US" dirty="0" smtClean="0"/>
              <a:t>Lean Canvas &amp; High Level Overview</a:t>
            </a:r>
            <a:endParaRPr lang="en-US" dirty="0"/>
          </a:p>
        </p:txBody>
      </p:sp>
    </p:spTree>
    <p:extLst>
      <p:ext uri="{BB962C8B-B14F-4D97-AF65-F5344CB8AC3E}">
        <p14:creationId xmlns:p14="http://schemas.microsoft.com/office/powerpoint/2010/main" val="9250480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Business Model</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5</a:t>
            </a:fld>
            <a:endParaRPr lang="en-CA"/>
          </a:p>
        </p:txBody>
      </p:sp>
    </p:spTree>
    <p:extLst>
      <p:ext uri="{BB962C8B-B14F-4D97-AF65-F5344CB8AC3E}">
        <p14:creationId xmlns:p14="http://schemas.microsoft.com/office/powerpoint/2010/main" val="17705043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44881" y="2639305"/>
            <a:ext cx="10212013" cy="1072488"/>
            <a:chOff x="1244881" y="1330036"/>
            <a:chExt cx="10212013" cy="1072488"/>
          </a:xfrm>
        </p:grpSpPr>
        <p:sp>
          <p:nvSpPr>
            <p:cNvPr id="88" name="Rectangle 4"/>
            <p:cNvSpPr>
              <a:spLocks noChangeArrowheads="1"/>
            </p:cNvSpPr>
            <p:nvPr/>
          </p:nvSpPr>
          <p:spPr bwMode="gray">
            <a:xfrm>
              <a:off x="3033376" y="1330037"/>
              <a:ext cx="7823077" cy="333823"/>
            </a:xfrm>
            <a:prstGeom prst="rect">
              <a:avLst/>
            </a:prstGeom>
            <a:gradFill rotWithShape="0">
              <a:gsLst>
                <a:gs pos="0">
                  <a:schemeClr val="bg1">
                    <a:lumMod val="95000"/>
                  </a:schemeClr>
                </a:gs>
                <a:gs pos="100000">
                  <a:srgbClr val="FFFFFF"/>
                </a:gs>
              </a:gsLst>
              <a:lin ang="0" scaled="1"/>
            </a:gradFill>
            <a:ln>
              <a:noFill/>
            </a:ln>
            <a:effectLst/>
            <a:extLst/>
          </p:spPr>
          <p:txBody>
            <a:bodyPr wrap="none" anchor="ctr"/>
            <a:lstStyle/>
            <a:p>
              <a:pPr marL="0" lvl="1"/>
              <a:r>
                <a:rPr lang="en-US" sz="1400" b="1" dirty="0" smtClean="0">
                  <a:solidFill>
                    <a:srgbClr val="454545"/>
                  </a:solidFill>
                </a:rPr>
                <a:t>Implementing the primary features and user interface of the app</a:t>
              </a:r>
              <a:endParaRPr lang="en-US" sz="1400" b="1" dirty="0">
                <a:solidFill>
                  <a:srgbClr val="454545"/>
                </a:solidFill>
              </a:endParaRPr>
            </a:p>
          </p:txBody>
        </p:sp>
        <p:sp>
          <p:nvSpPr>
            <p:cNvPr id="89" name="Rectangle 88"/>
            <p:cNvSpPr/>
            <p:nvPr/>
          </p:nvSpPr>
          <p:spPr>
            <a:xfrm>
              <a:off x="1244881" y="1330036"/>
              <a:ext cx="1447800" cy="857043"/>
            </a:xfrm>
            <a:prstGeom prst="rect">
              <a:avLst/>
            </a:prstGeom>
            <a:solidFill>
              <a:srgbClr val="0070C0"/>
            </a:solidFill>
          </p:spPr>
          <p:style>
            <a:lnRef idx="1">
              <a:schemeClr val="dk1"/>
            </a:lnRef>
            <a:fillRef idx="3">
              <a:schemeClr val="dk1"/>
            </a:fillRef>
            <a:effectRef idx="2">
              <a:schemeClr val="dk1"/>
            </a:effectRef>
            <a:fontRef idx="minor">
              <a:schemeClr val="lt1"/>
            </a:fontRef>
          </p:style>
          <p:txBody>
            <a:bodyPr rtlCol="0" anchor="ctr"/>
            <a:lstStyle/>
            <a:p>
              <a:pPr algn="ctr"/>
              <a:r>
                <a:rPr lang="en-US" b="1" dirty="0">
                  <a:solidFill>
                    <a:prstClr val="white"/>
                  </a:solidFill>
                </a:rPr>
                <a:t>Plan</a:t>
              </a:r>
            </a:p>
          </p:txBody>
        </p:sp>
        <p:sp>
          <p:nvSpPr>
            <p:cNvPr id="90" name="TextBox 89"/>
            <p:cNvSpPr txBox="1"/>
            <p:nvPr/>
          </p:nvSpPr>
          <p:spPr>
            <a:xfrm>
              <a:off x="3033376" y="1663860"/>
              <a:ext cx="8423518"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Map View to see all the sensors and clusters of pedestrians along with traffic</a:t>
              </a:r>
            </a:p>
            <a:p>
              <a:pPr marL="285750" indent="-285750">
                <a:buFont typeface="Arial" panose="020B0604020202020204" pitchFamily="34" charset="0"/>
                <a:buChar char="•"/>
              </a:pPr>
              <a:r>
                <a:rPr lang="en-US" sz="1400" dirty="0" smtClean="0">
                  <a:solidFill>
                    <a:srgbClr val="454545"/>
                  </a:solidFill>
                </a:rPr>
                <a:t>All secondary features are mentioned in business plan but not implemented due to limited time and resources</a:t>
              </a:r>
              <a:endParaRPr lang="en-US" sz="1400" dirty="0">
                <a:solidFill>
                  <a:srgbClr val="454545"/>
                </a:solidFill>
              </a:endParaRPr>
            </a:p>
          </p:txBody>
        </p:sp>
      </p:grpSp>
      <p:grpSp>
        <p:nvGrpSpPr>
          <p:cNvPr id="4" name="Group 3"/>
          <p:cNvGrpSpPr/>
          <p:nvPr/>
        </p:nvGrpSpPr>
        <p:grpSpPr>
          <a:xfrm>
            <a:off x="1244881" y="5098976"/>
            <a:ext cx="10212013" cy="1072488"/>
            <a:chOff x="1244881" y="2574636"/>
            <a:chExt cx="10212013" cy="1072488"/>
          </a:xfrm>
        </p:grpSpPr>
        <p:sp>
          <p:nvSpPr>
            <p:cNvPr id="85" name="Rectangle 4"/>
            <p:cNvSpPr>
              <a:spLocks noChangeArrowheads="1"/>
            </p:cNvSpPr>
            <p:nvPr/>
          </p:nvSpPr>
          <p:spPr bwMode="gray">
            <a:xfrm>
              <a:off x="3033376" y="2574637"/>
              <a:ext cx="7823077" cy="333823"/>
            </a:xfrm>
            <a:prstGeom prst="rect">
              <a:avLst/>
            </a:prstGeom>
            <a:gradFill rotWithShape="0">
              <a:gsLst>
                <a:gs pos="0">
                  <a:schemeClr val="bg1">
                    <a:lumMod val="95000"/>
                  </a:schemeClr>
                </a:gs>
                <a:gs pos="100000">
                  <a:srgbClr val="FFFFFF"/>
                </a:gs>
              </a:gsLst>
              <a:lin ang="0" scaled="1"/>
            </a:gradFill>
            <a:ln>
              <a:noFill/>
            </a:ln>
            <a:effectLst/>
            <a:extLst/>
          </p:spPr>
          <p:txBody>
            <a:bodyPr wrap="none" anchor="ctr"/>
            <a:lstStyle/>
            <a:p>
              <a:r>
                <a:rPr lang="en-US" sz="1400" b="1" dirty="0" smtClean="0">
                  <a:solidFill>
                    <a:srgbClr val="454545"/>
                  </a:solidFill>
                </a:rPr>
                <a:t>Target Market and Customer Impact</a:t>
              </a:r>
              <a:endParaRPr lang="en-US" sz="1400" b="1" dirty="0">
                <a:solidFill>
                  <a:srgbClr val="454545"/>
                </a:solidFill>
              </a:endParaRPr>
            </a:p>
          </p:txBody>
        </p:sp>
        <p:sp>
          <p:nvSpPr>
            <p:cNvPr id="86" name="Rectangle 85"/>
            <p:cNvSpPr/>
            <p:nvPr/>
          </p:nvSpPr>
          <p:spPr>
            <a:xfrm>
              <a:off x="1244881" y="2574636"/>
              <a:ext cx="1447800" cy="857043"/>
            </a:xfrm>
            <a:prstGeom prst="rect">
              <a:avLst/>
            </a:prstGeom>
            <a:solidFill>
              <a:srgbClr val="0070C0"/>
            </a:solidFill>
          </p:spPr>
          <p:style>
            <a:lnRef idx="1">
              <a:schemeClr val="dk1"/>
            </a:lnRef>
            <a:fillRef idx="3">
              <a:schemeClr val="dk1"/>
            </a:fillRef>
            <a:effectRef idx="2">
              <a:schemeClr val="dk1"/>
            </a:effectRef>
            <a:fontRef idx="minor">
              <a:schemeClr val="lt1"/>
            </a:fontRef>
          </p:style>
          <p:txBody>
            <a:bodyPr rtlCol="0" anchor="ctr"/>
            <a:lstStyle/>
            <a:p>
              <a:pPr algn="ctr"/>
              <a:r>
                <a:rPr lang="en-US" b="1" dirty="0" smtClean="0">
                  <a:solidFill>
                    <a:prstClr val="white"/>
                  </a:solidFill>
                </a:rPr>
                <a:t>Market</a:t>
              </a:r>
              <a:endParaRPr lang="en-US" b="1" dirty="0">
                <a:solidFill>
                  <a:prstClr val="white"/>
                </a:solidFill>
              </a:endParaRPr>
            </a:p>
          </p:txBody>
        </p:sp>
        <p:sp>
          <p:nvSpPr>
            <p:cNvPr id="87" name="TextBox 86"/>
            <p:cNvSpPr txBox="1"/>
            <p:nvPr/>
          </p:nvSpPr>
          <p:spPr>
            <a:xfrm>
              <a:off x="3033376" y="2908460"/>
              <a:ext cx="8423518"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Construction Companies</a:t>
              </a:r>
              <a:endParaRPr lang="en-US" sz="1400" dirty="0">
                <a:solidFill>
                  <a:srgbClr val="454545"/>
                </a:solidFill>
              </a:endParaRPr>
            </a:p>
            <a:p>
              <a:pPr marL="285750" indent="-285750">
                <a:buFont typeface="Arial" panose="020B0604020202020204" pitchFamily="34" charset="0"/>
                <a:buChar char="•"/>
              </a:pPr>
              <a:r>
                <a:rPr lang="en-US" sz="1400" dirty="0" smtClean="0">
                  <a:solidFill>
                    <a:srgbClr val="454545"/>
                  </a:solidFill>
                </a:rPr>
                <a:t>Local Governments</a:t>
              </a:r>
            </a:p>
            <a:p>
              <a:pPr marL="285750" indent="-285750">
                <a:buFont typeface="Arial" panose="020B0604020202020204" pitchFamily="34" charset="0"/>
                <a:buChar char="•"/>
              </a:pPr>
              <a:r>
                <a:rPr lang="en-US" sz="1400" dirty="0" smtClean="0">
                  <a:solidFill>
                    <a:srgbClr val="454545"/>
                  </a:solidFill>
                </a:rPr>
                <a:t>Involves Pedestrian Safety, Traffic flow and </a:t>
              </a:r>
              <a:r>
                <a:rPr lang="en-US" sz="1400" smtClean="0">
                  <a:solidFill>
                    <a:srgbClr val="454545"/>
                  </a:solidFill>
                </a:rPr>
                <a:t>Environmental safety/clean-up </a:t>
              </a:r>
              <a:r>
                <a:rPr lang="en-US" sz="1400" dirty="0" smtClean="0">
                  <a:solidFill>
                    <a:srgbClr val="454545"/>
                  </a:solidFill>
                </a:rPr>
                <a:t>for Smart City</a:t>
              </a:r>
              <a:endParaRPr lang="en-US" sz="1400" dirty="0">
                <a:solidFill>
                  <a:srgbClr val="454545"/>
                </a:solidFill>
              </a:endParaRPr>
            </a:p>
          </p:txBody>
        </p:sp>
      </p:grpSp>
      <p:grpSp>
        <p:nvGrpSpPr>
          <p:cNvPr id="5" name="Group 4"/>
          <p:cNvGrpSpPr/>
          <p:nvPr/>
        </p:nvGrpSpPr>
        <p:grpSpPr>
          <a:xfrm>
            <a:off x="1244881" y="3869141"/>
            <a:ext cx="10212013" cy="1287931"/>
            <a:chOff x="1244881" y="3819236"/>
            <a:chExt cx="10212013" cy="1287931"/>
          </a:xfrm>
        </p:grpSpPr>
        <p:sp>
          <p:nvSpPr>
            <p:cNvPr id="70" name="Rectangle 4"/>
            <p:cNvSpPr>
              <a:spLocks noChangeArrowheads="1"/>
            </p:cNvSpPr>
            <p:nvPr/>
          </p:nvSpPr>
          <p:spPr bwMode="gray">
            <a:xfrm>
              <a:off x="3033376" y="3819237"/>
              <a:ext cx="7823077" cy="333823"/>
            </a:xfrm>
            <a:prstGeom prst="rect">
              <a:avLst/>
            </a:prstGeom>
            <a:gradFill rotWithShape="0">
              <a:gsLst>
                <a:gs pos="0">
                  <a:schemeClr val="bg1">
                    <a:lumMod val="95000"/>
                  </a:schemeClr>
                </a:gs>
                <a:gs pos="100000">
                  <a:srgbClr val="FFFFFF"/>
                </a:gs>
              </a:gsLst>
              <a:lin ang="0" scaled="1"/>
            </a:gradFill>
            <a:ln>
              <a:noFill/>
            </a:ln>
            <a:effectLst/>
            <a:extLst/>
          </p:spPr>
          <p:txBody>
            <a:bodyPr wrap="none" anchor="ctr"/>
            <a:lstStyle/>
            <a:p>
              <a:r>
                <a:rPr lang="en-US" sz="1400" b="1" dirty="0" smtClean="0">
                  <a:solidFill>
                    <a:srgbClr val="454545"/>
                  </a:solidFill>
                </a:rPr>
                <a:t>Features implemented </a:t>
              </a:r>
              <a:endParaRPr lang="en-US" sz="1400" b="1" dirty="0">
                <a:solidFill>
                  <a:srgbClr val="454545"/>
                </a:solidFill>
              </a:endParaRPr>
            </a:p>
          </p:txBody>
        </p:sp>
        <p:sp>
          <p:nvSpPr>
            <p:cNvPr id="83" name="Rectangle 82"/>
            <p:cNvSpPr/>
            <p:nvPr/>
          </p:nvSpPr>
          <p:spPr>
            <a:xfrm>
              <a:off x="1244881" y="3819236"/>
              <a:ext cx="1447800" cy="857043"/>
            </a:xfrm>
            <a:prstGeom prst="rect">
              <a:avLst/>
            </a:prstGeom>
            <a:solidFill>
              <a:srgbClr val="0070C0"/>
            </a:solidFill>
          </p:spPr>
          <p:style>
            <a:lnRef idx="1">
              <a:schemeClr val="dk1"/>
            </a:lnRef>
            <a:fillRef idx="3">
              <a:schemeClr val="dk1"/>
            </a:fillRef>
            <a:effectRef idx="2">
              <a:schemeClr val="dk1"/>
            </a:effectRef>
            <a:fontRef idx="minor">
              <a:schemeClr val="lt1"/>
            </a:fontRef>
          </p:style>
          <p:txBody>
            <a:bodyPr rtlCol="0" anchor="ctr"/>
            <a:lstStyle/>
            <a:p>
              <a:pPr algn="ctr"/>
              <a:r>
                <a:rPr lang="en-US" b="1" dirty="0" smtClean="0">
                  <a:solidFill>
                    <a:prstClr val="white"/>
                  </a:solidFill>
                </a:rPr>
                <a:t>Features</a:t>
              </a:r>
              <a:endParaRPr lang="en-US" b="1" dirty="0">
                <a:solidFill>
                  <a:prstClr val="white"/>
                </a:solidFill>
              </a:endParaRPr>
            </a:p>
          </p:txBody>
        </p:sp>
        <p:sp>
          <p:nvSpPr>
            <p:cNvPr id="84" name="TextBox 83"/>
            <p:cNvSpPr txBox="1"/>
            <p:nvPr/>
          </p:nvSpPr>
          <p:spPr>
            <a:xfrm>
              <a:off x="3033376" y="4153060"/>
              <a:ext cx="8423518"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Map View with pedestrian clusters </a:t>
              </a:r>
              <a:r>
                <a:rPr lang="en-US" sz="1400" dirty="0">
                  <a:solidFill>
                    <a:srgbClr val="454545"/>
                  </a:solidFill>
                </a:rPr>
                <a:t>and traffic </a:t>
              </a:r>
              <a:r>
                <a:rPr lang="en-US" sz="1400" dirty="0" smtClean="0">
                  <a:solidFill>
                    <a:srgbClr val="454545"/>
                  </a:solidFill>
                </a:rPr>
                <a:t>bottlenecks identified on screen</a:t>
              </a:r>
            </a:p>
            <a:p>
              <a:pPr marL="285750" indent="-285750">
                <a:buFont typeface="Arial" panose="020B0604020202020204" pitchFamily="34" charset="0"/>
                <a:buChar char="•"/>
              </a:pPr>
              <a:r>
                <a:rPr lang="en-US" sz="1400" dirty="0" smtClean="0">
                  <a:solidFill>
                    <a:srgbClr val="454545"/>
                  </a:solidFill>
                </a:rPr>
                <a:t>Allow construction companies to place pins on the map for their asset or construction sites based on the pedestrian clusters and traffic flow</a:t>
              </a:r>
            </a:p>
            <a:p>
              <a:pPr marL="285750" indent="-285750">
                <a:buFont typeface="Arial" panose="020B0604020202020204" pitchFamily="34" charset="0"/>
                <a:buChar char="•"/>
              </a:pPr>
              <a:r>
                <a:rPr lang="en-US" sz="1400" dirty="0" smtClean="0">
                  <a:solidFill>
                    <a:srgbClr val="454545"/>
                  </a:solidFill>
                </a:rPr>
                <a:t>Helping construction companies and local Governments to promote smart construction</a:t>
              </a:r>
              <a:endParaRPr lang="en-US" sz="1400" dirty="0">
                <a:solidFill>
                  <a:srgbClr val="454545"/>
                </a:solidFill>
              </a:endParaRPr>
            </a:p>
          </p:txBody>
        </p:sp>
      </p:grpSp>
      <p:grpSp>
        <p:nvGrpSpPr>
          <p:cNvPr id="6" name="Group 5"/>
          <p:cNvGrpSpPr/>
          <p:nvPr/>
        </p:nvGrpSpPr>
        <p:grpSpPr>
          <a:xfrm>
            <a:off x="1244881" y="1409469"/>
            <a:ext cx="10459439" cy="1287931"/>
            <a:chOff x="1244881" y="5063836"/>
            <a:chExt cx="10459439" cy="1287931"/>
          </a:xfrm>
        </p:grpSpPr>
        <p:sp>
          <p:nvSpPr>
            <p:cNvPr id="58" name="Rectangle 4"/>
            <p:cNvSpPr>
              <a:spLocks noChangeArrowheads="1"/>
            </p:cNvSpPr>
            <p:nvPr/>
          </p:nvSpPr>
          <p:spPr bwMode="gray">
            <a:xfrm>
              <a:off x="3033376" y="5063837"/>
              <a:ext cx="7823077" cy="333823"/>
            </a:xfrm>
            <a:prstGeom prst="rect">
              <a:avLst/>
            </a:prstGeom>
            <a:gradFill rotWithShape="0">
              <a:gsLst>
                <a:gs pos="0">
                  <a:schemeClr val="bg1">
                    <a:lumMod val="95000"/>
                  </a:schemeClr>
                </a:gs>
                <a:gs pos="100000">
                  <a:srgbClr val="FFFFFF"/>
                </a:gs>
              </a:gsLst>
              <a:lin ang="0" scaled="1"/>
            </a:gradFill>
            <a:ln>
              <a:noFill/>
            </a:ln>
            <a:effectLst/>
            <a:extLst/>
          </p:spPr>
          <p:txBody>
            <a:bodyPr wrap="none" anchor="ctr"/>
            <a:lstStyle/>
            <a:p>
              <a:r>
                <a:rPr lang="en-US" sz="1400" b="1" dirty="0">
                  <a:solidFill>
                    <a:srgbClr val="454545"/>
                  </a:solidFill>
                </a:rPr>
                <a:t>Successful PoC </a:t>
              </a:r>
              <a:r>
                <a:rPr lang="mr-IN" sz="1400" b="1" dirty="0">
                  <a:solidFill>
                    <a:srgbClr val="454545"/>
                  </a:solidFill>
                </a:rPr>
                <a:t>–</a:t>
              </a:r>
              <a:r>
                <a:rPr lang="en-US" sz="1400" b="1" dirty="0">
                  <a:solidFill>
                    <a:srgbClr val="454545"/>
                  </a:solidFill>
                </a:rPr>
                <a:t> </a:t>
              </a:r>
              <a:r>
                <a:rPr lang="en-US" sz="1400" b="1" dirty="0" smtClean="0">
                  <a:solidFill>
                    <a:srgbClr val="454545"/>
                  </a:solidFill>
                </a:rPr>
                <a:t>Current Vision web app with GE Current street sensors</a:t>
              </a:r>
              <a:endParaRPr lang="en-US" sz="1400" b="1" dirty="0">
                <a:solidFill>
                  <a:srgbClr val="454545"/>
                </a:solidFill>
              </a:endParaRPr>
            </a:p>
          </p:txBody>
        </p:sp>
        <p:sp>
          <p:nvSpPr>
            <p:cNvPr id="62" name="Rectangle 61"/>
            <p:cNvSpPr/>
            <p:nvPr/>
          </p:nvSpPr>
          <p:spPr>
            <a:xfrm>
              <a:off x="1244881" y="5063836"/>
              <a:ext cx="1447800" cy="857043"/>
            </a:xfrm>
            <a:prstGeom prst="rect">
              <a:avLst/>
            </a:prstGeom>
            <a:solidFill>
              <a:srgbClr val="0070C0"/>
            </a:solidFill>
          </p:spPr>
          <p:style>
            <a:lnRef idx="1">
              <a:schemeClr val="dk1"/>
            </a:lnRef>
            <a:fillRef idx="3">
              <a:schemeClr val="dk1"/>
            </a:fillRef>
            <a:effectRef idx="2">
              <a:schemeClr val="dk1"/>
            </a:effectRef>
            <a:fontRef idx="minor">
              <a:schemeClr val="lt1"/>
            </a:fontRef>
          </p:style>
          <p:txBody>
            <a:bodyPr rtlCol="0" anchor="ctr"/>
            <a:lstStyle/>
            <a:p>
              <a:pPr algn="ctr"/>
              <a:r>
                <a:rPr lang="en-US" b="1" dirty="0">
                  <a:solidFill>
                    <a:prstClr val="white"/>
                  </a:solidFill>
                </a:rPr>
                <a:t>PoC results</a:t>
              </a:r>
            </a:p>
          </p:txBody>
        </p:sp>
        <p:sp>
          <p:nvSpPr>
            <p:cNvPr id="66" name="TextBox 65"/>
            <p:cNvSpPr txBox="1"/>
            <p:nvPr/>
          </p:nvSpPr>
          <p:spPr>
            <a:xfrm>
              <a:off x="3033376" y="5397660"/>
              <a:ext cx="867094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Completed a Beta version of the app with primary features</a:t>
              </a:r>
            </a:p>
            <a:p>
              <a:pPr marL="285750" indent="-285750">
                <a:buFont typeface="Arial" panose="020B0604020202020204" pitchFamily="34" charset="0"/>
                <a:buChar char="•"/>
              </a:pPr>
              <a:r>
                <a:rPr lang="en-US" sz="1400" dirty="0" smtClean="0">
                  <a:solidFill>
                    <a:srgbClr val="454545"/>
                  </a:solidFill>
                </a:rPr>
                <a:t>Successfully used the GE Current APIs and Predix micro-services to find clusters of pedestrians and traffic</a:t>
              </a:r>
            </a:p>
            <a:p>
              <a:pPr marL="285750" indent="-285750">
                <a:buFont typeface="Arial" panose="020B0604020202020204" pitchFamily="34" charset="0"/>
                <a:buChar char="•"/>
              </a:pPr>
              <a:r>
                <a:rPr lang="en-US" sz="1400" dirty="0" smtClean="0">
                  <a:solidFill>
                    <a:srgbClr val="454545"/>
                  </a:solidFill>
                </a:rPr>
                <a:t>Utilized Google Maps API to enable users to place pins on the map as their assets to track surrounding locations</a:t>
              </a:r>
              <a:endParaRPr lang="en-US" sz="1400" dirty="0">
                <a:solidFill>
                  <a:srgbClr val="454545"/>
                </a:solidFill>
              </a:endParaRPr>
            </a:p>
          </p:txBody>
        </p:sp>
      </p:grpSp>
      <p:sp>
        <p:nvSpPr>
          <p:cNvPr id="3" name="Title 2"/>
          <p:cNvSpPr>
            <a:spLocks noGrp="1"/>
          </p:cNvSpPr>
          <p:nvPr>
            <p:ph type="title"/>
          </p:nvPr>
        </p:nvSpPr>
        <p:spPr/>
        <p:txBody>
          <a:bodyPr/>
          <a:lstStyle/>
          <a:p>
            <a:r>
              <a:rPr lang="en-US" dirty="0" smtClean="0"/>
              <a:t>Current Vision </a:t>
            </a:r>
            <a:r>
              <a:rPr lang="en-US" dirty="0"/>
              <a:t>| Executive Summary </a:t>
            </a:r>
          </a:p>
        </p:txBody>
      </p:sp>
      <p:sp>
        <p:nvSpPr>
          <p:cNvPr id="21" name="Slide Number Placeholder 1"/>
          <p:cNvSpPr txBox="1">
            <a:spLocks/>
          </p:cNvSpPr>
          <p:nvPr/>
        </p:nvSpPr>
        <p:spPr>
          <a:xfrm>
            <a:off x="11558854" y="6430257"/>
            <a:ext cx="329636"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a:t>2</a:t>
            </a:r>
          </a:p>
        </p:txBody>
      </p:sp>
    </p:spTree>
    <p:extLst>
      <p:ext uri="{BB962C8B-B14F-4D97-AF65-F5344CB8AC3E}">
        <p14:creationId xmlns:p14="http://schemas.microsoft.com/office/powerpoint/2010/main" val="3492006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Value Proposition</a:t>
            </a:r>
            <a:endParaRPr lang="en-US" dirty="0"/>
          </a:p>
        </p:txBody>
      </p:sp>
      <p:sp>
        <p:nvSpPr>
          <p:cNvPr id="18" name="Rectangle 17"/>
          <p:cNvSpPr/>
          <p:nvPr/>
        </p:nvSpPr>
        <p:spPr bwMode="gray">
          <a:xfrm>
            <a:off x="533399" y="1136486"/>
            <a:ext cx="7627375" cy="4928055"/>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7</a:t>
            </a:fld>
            <a:endParaRPr lang="en-CA" dirty="0"/>
          </a:p>
        </p:txBody>
      </p:sp>
      <p:sp>
        <p:nvSpPr>
          <p:cNvPr id="82" name="TextBox 81"/>
          <p:cNvSpPr txBox="1"/>
          <p:nvPr/>
        </p:nvSpPr>
        <p:spPr>
          <a:xfrm>
            <a:off x="693432" y="1364428"/>
            <a:ext cx="6677185" cy="1815882"/>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Construction Companies</a:t>
            </a:r>
            <a:endParaRPr lang="en-US" sz="1600" dirty="0"/>
          </a:p>
          <a:p>
            <a:pPr marL="742950" lvl="1" indent="-285750" defTabSz="457200">
              <a:buFont typeface="Arial" panose="020B0604020202020204" pitchFamily="34" charset="0"/>
              <a:buChar char="•"/>
            </a:pPr>
            <a:r>
              <a:rPr lang="en-US" sz="1600" dirty="0"/>
              <a:t>Current Vision delivers a solution to significantly increase efficiency and reduce costs by highlighting pedestrian patterns </a:t>
            </a:r>
            <a:r>
              <a:rPr lang="en-US" sz="1600" dirty="0" smtClean="0"/>
              <a:t>and traffic data throughout </a:t>
            </a:r>
            <a:r>
              <a:rPr lang="en-US" sz="1600" dirty="0"/>
              <a:t>the city</a:t>
            </a:r>
          </a:p>
          <a:p>
            <a:pPr marL="742950" lvl="1" indent="-285750" defTabSz="457200">
              <a:buFont typeface="Arial" panose="020B0604020202020204" pitchFamily="34" charset="0"/>
              <a:buChar char="•"/>
            </a:pPr>
            <a:r>
              <a:rPr lang="en-US" sz="1600" dirty="0"/>
              <a:t>Provides real time analytics to suggest optimal times for construction </a:t>
            </a:r>
          </a:p>
          <a:p>
            <a:pPr marL="742950" lvl="1" indent="-285750" defTabSz="457200">
              <a:buFont typeface="Arial" panose="020B0604020202020204" pitchFamily="34" charset="0"/>
              <a:buChar char="•"/>
            </a:pPr>
            <a:endParaRPr lang="en-US" sz="1600" dirty="0"/>
          </a:p>
        </p:txBody>
      </p:sp>
      <p:sp>
        <p:nvSpPr>
          <p:cNvPr id="20" name="TextBox 19"/>
          <p:cNvSpPr txBox="1"/>
          <p:nvPr/>
        </p:nvSpPr>
        <p:spPr>
          <a:xfrm>
            <a:off x="693431" y="3093049"/>
            <a:ext cx="6677186" cy="1323439"/>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Local </a:t>
            </a:r>
            <a:r>
              <a:rPr lang="en-US" sz="1600" dirty="0" smtClean="0"/>
              <a:t>Governments</a:t>
            </a:r>
          </a:p>
          <a:p>
            <a:pPr marL="742950" lvl="1" indent="-285750" defTabSz="457200">
              <a:buFont typeface="Arial" panose="020B0604020202020204" pitchFamily="34" charset="0"/>
              <a:buChar char="•"/>
            </a:pPr>
            <a:r>
              <a:rPr lang="en-US" sz="1600" dirty="0" smtClean="0"/>
              <a:t>Providing </a:t>
            </a:r>
            <a:r>
              <a:rPr lang="en-US" sz="1600" dirty="0"/>
              <a:t>real time data of traffic and pedestrian patterns around prime construction sites for smart city </a:t>
            </a:r>
            <a:r>
              <a:rPr lang="en-US" sz="1600" dirty="0" smtClean="0"/>
              <a:t>planning</a:t>
            </a:r>
          </a:p>
          <a:p>
            <a:pPr marL="742950" lvl="1" indent="-285750" defTabSz="457200">
              <a:buFont typeface="Arial" panose="020B0604020202020204" pitchFamily="34" charset="0"/>
              <a:buChar char="•"/>
            </a:pPr>
            <a:r>
              <a:rPr lang="en-US" sz="1600" dirty="0" smtClean="0"/>
              <a:t>Highlighting </a:t>
            </a:r>
            <a:r>
              <a:rPr lang="en-US" sz="1600" dirty="0"/>
              <a:t>environmental data of areas surrounding construction sites to better determine clean-up costs </a:t>
            </a:r>
          </a:p>
        </p:txBody>
      </p:sp>
      <p:pic>
        <p:nvPicPr>
          <p:cNvPr id="4" name="Picture 3"/>
          <p:cNvPicPr>
            <a:picLocks noChangeAspect="1"/>
          </p:cNvPicPr>
          <p:nvPr/>
        </p:nvPicPr>
        <p:blipFill>
          <a:blip r:embed="rId3"/>
          <a:stretch>
            <a:fillRect/>
          </a:stretch>
        </p:blipFill>
        <p:spPr>
          <a:xfrm>
            <a:off x="8386770" y="2405095"/>
            <a:ext cx="3356864" cy="2307844"/>
          </a:xfrm>
          <a:prstGeom prst="rect">
            <a:avLst/>
          </a:prstGeom>
        </p:spPr>
      </p:pic>
      <p:sp>
        <p:nvSpPr>
          <p:cNvPr id="15" name="TextBox 14"/>
          <p:cNvSpPr txBox="1"/>
          <p:nvPr/>
        </p:nvSpPr>
        <p:spPr>
          <a:xfrm>
            <a:off x="693431" y="4644430"/>
            <a:ext cx="6677186" cy="1323439"/>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Our team had 3 main objectives when developing current vision</a:t>
            </a:r>
          </a:p>
          <a:p>
            <a:pPr marL="742950" lvl="1" indent="-285750" defTabSz="457200">
              <a:buFont typeface="Arial" panose="020B0604020202020204" pitchFamily="34" charset="0"/>
              <a:buChar char="•"/>
            </a:pPr>
            <a:r>
              <a:rPr lang="en-US" sz="1600" b="1" dirty="0"/>
              <a:t>Make cities a safer place</a:t>
            </a:r>
          </a:p>
          <a:p>
            <a:pPr marL="742950" lvl="1" indent="-285750" defTabSz="457200">
              <a:buFont typeface="Arial" panose="020B0604020202020204" pitchFamily="34" charset="0"/>
              <a:buChar char="•"/>
            </a:pPr>
            <a:r>
              <a:rPr lang="en-US" sz="1600" b="1" dirty="0"/>
              <a:t>Increase Efficiency &amp; Decrease costs</a:t>
            </a:r>
            <a:r>
              <a:rPr lang="en-US" sz="1600" dirty="0"/>
              <a:t> for construction firms and local governments</a:t>
            </a:r>
          </a:p>
          <a:p>
            <a:pPr marL="742950" lvl="1" indent="-285750" defTabSz="457200">
              <a:buFont typeface="Arial" panose="020B0604020202020204" pitchFamily="34" charset="0"/>
              <a:buChar char="•"/>
            </a:pPr>
            <a:r>
              <a:rPr lang="en-US" sz="1600" dirty="0"/>
              <a:t>And most importantly, </a:t>
            </a:r>
            <a:r>
              <a:rPr lang="en-US" sz="1600" b="1" dirty="0"/>
              <a:t>SAVE LIVES</a:t>
            </a:r>
            <a:r>
              <a:rPr lang="en-US" sz="1600" dirty="0"/>
              <a:t>!</a:t>
            </a:r>
          </a:p>
        </p:txBody>
      </p:sp>
    </p:spTree>
    <p:extLst>
      <p:ext uri="{BB962C8B-B14F-4D97-AF65-F5344CB8AC3E}">
        <p14:creationId xmlns:p14="http://schemas.microsoft.com/office/powerpoint/2010/main" val="13541126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Business Model</a:t>
            </a:r>
            <a:endParaRPr lang="en-US" dirty="0"/>
          </a:p>
        </p:txBody>
      </p:sp>
      <p:sp>
        <p:nvSpPr>
          <p:cNvPr id="18" name="Rectangle 17"/>
          <p:cNvSpPr/>
          <p:nvPr/>
        </p:nvSpPr>
        <p:spPr bwMode="gray">
          <a:xfrm>
            <a:off x="533399" y="1136486"/>
            <a:ext cx="7394987" cy="5176124"/>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8</a:t>
            </a:fld>
            <a:endParaRPr lang="en-CA" dirty="0"/>
          </a:p>
        </p:txBody>
      </p:sp>
      <p:sp>
        <p:nvSpPr>
          <p:cNvPr id="82" name="TextBox 81"/>
          <p:cNvSpPr txBox="1"/>
          <p:nvPr/>
        </p:nvSpPr>
        <p:spPr>
          <a:xfrm>
            <a:off x="693432" y="1308967"/>
            <a:ext cx="6677185" cy="1815882"/>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Competitive </a:t>
            </a:r>
            <a:r>
              <a:rPr lang="en-US" sz="1600" dirty="0" smtClean="0"/>
              <a:t>advantage</a:t>
            </a:r>
          </a:p>
          <a:p>
            <a:pPr marL="742950" lvl="1" indent="-285750" defTabSz="457200">
              <a:buFont typeface="Arial" panose="020B0604020202020204" pitchFamily="34" charset="0"/>
              <a:buChar char="•"/>
            </a:pPr>
            <a:r>
              <a:rPr lang="en-US" sz="1600" dirty="0" smtClean="0"/>
              <a:t>No definite competitors in the market that currently provide construction companies with this data</a:t>
            </a:r>
          </a:p>
          <a:p>
            <a:pPr marL="742950" lvl="1" indent="-285750" defTabSz="457200">
              <a:buFont typeface="Arial" panose="020B0604020202020204" pitchFamily="34" charset="0"/>
              <a:buChar char="•"/>
            </a:pPr>
            <a:r>
              <a:rPr lang="en-US" sz="1600" dirty="0"/>
              <a:t>Traffic control boards </a:t>
            </a:r>
            <a:r>
              <a:rPr lang="en-US" sz="1600" dirty="0" smtClean="0"/>
              <a:t>are not direct competitors but share a similar yet broader purpose. These Traffic control boards are valued really highly </a:t>
            </a:r>
            <a:r>
              <a:rPr lang="en-US" sz="1600" dirty="0"/>
              <a:t>and this app would be more useful, convenient and cheaper for the </a:t>
            </a:r>
            <a:r>
              <a:rPr lang="en-US" sz="1600" dirty="0" smtClean="0"/>
              <a:t>construction companies</a:t>
            </a:r>
            <a:endParaRPr lang="en-US" sz="1600" dirty="0"/>
          </a:p>
        </p:txBody>
      </p:sp>
      <p:sp>
        <p:nvSpPr>
          <p:cNvPr id="24" name="TextBox 23"/>
          <p:cNvSpPr txBox="1"/>
          <p:nvPr/>
        </p:nvSpPr>
        <p:spPr>
          <a:xfrm>
            <a:off x="693431" y="3019401"/>
            <a:ext cx="6677184" cy="3293209"/>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Business Impact</a:t>
            </a:r>
          </a:p>
          <a:p>
            <a:pPr marL="742950" lvl="1" indent="-285750" defTabSz="457200">
              <a:buFont typeface="Arial" panose="020B0604020202020204" pitchFamily="34" charset="0"/>
              <a:buChar char="•"/>
            </a:pPr>
            <a:r>
              <a:rPr lang="en-US" sz="1600" dirty="0" smtClean="0"/>
              <a:t>Web App to detect and track pedestrians and traffic</a:t>
            </a:r>
          </a:p>
          <a:p>
            <a:pPr marL="742950" lvl="1" indent="-285750" defTabSz="457200">
              <a:buFont typeface="Arial" panose="020B0604020202020204" pitchFamily="34" charset="0"/>
              <a:buChar char="•"/>
            </a:pPr>
            <a:r>
              <a:rPr lang="en-US" sz="1600" dirty="0" smtClean="0"/>
              <a:t>Allow construction companies and businesses to use this pedestrian and traffic data to choose optimal times to perform construction </a:t>
            </a:r>
          </a:p>
          <a:p>
            <a:pPr marL="742950" lvl="1" indent="-285750" defTabSz="457200">
              <a:buFont typeface="Arial" panose="020B0604020202020204" pitchFamily="34" charset="0"/>
              <a:buChar char="•"/>
            </a:pPr>
            <a:r>
              <a:rPr lang="en-US" sz="1600" dirty="0" smtClean="0"/>
              <a:t>Construction companies can pin their construction sites as assets on the map to track pedestrian/traffic data throughout the day near their sites</a:t>
            </a:r>
          </a:p>
          <a:p>
            <a:pPr marL="742950" lvl="1" indent="-285750" defTabSz="457200">
              <a:buFont typeface="Arial" panose="020B0604020202020204" pitchFamily="34" charset="0"/>
              <a:buChar char="•"/>
            </a:pPr>
            <a:r>
              <a:rPr lang="en-US" sz="1600" dirty="0" smtClean="0"/>
              <a:t>The app can also help construction companies keep track of multiple sites to monitor the activity around the area</a:t>
            </a:r>
          </a:p>
          <a:p>
            <a:pPr marL="742950" lvl="1" indent="-285750" defTabSz="457200">
              <a:buFont typeface="Arial" panose="020B0604020202020204" pitchFamily="34" charset="0"/>
              <a:buChar char="•"/>
            </a:pPr>
            <a:r>
              <a:rPr lang="en-US" sz="1600" dirty="0" smtClean="0"/>
              <a:t>Similar data can be sold to local Governments as well who can monitor construction in addition to implement many more use cases</a:t>
            </a:r>
            <a:endParaRPr lang="en-US" sz="1600" dirty="0"/>
          </a:p>
        </p:txBody>
      </p:sp>
      <p:pic>
        <p:nvPicPr>
          <p:cNvPr id="3" name="Picture 2"/>
          <p:cNvPicPr>
            <a:picLocks noChangeAspect="1"/>
          </p:cNvPicPr>
          <p:nvPr/>
        </p:nvPicPr>
        <p:blipFill>
          <a:blip r:embed="rId3"/>
          <a:stretch>
            <a:fillRect/>
          </a:stretch>
        </p:blipFill>
        <p:spPr>
          <a:xfrm>
            <a:off x="8320807" y="1136486"/>
            <a:ext cx="3625620" cy="2417080"/>
          </a:xfrm>
          <a:prstGeom prst="rect">
            <a:avLst/>
          </a:prstGeom>
        </p:spPr>
      </p:pic>
      <p:pic>
        <p:nvPicPr>
          <p:cNvPr id="4" name="Picture 3"/>
          <p:cNvPicPr>
            <a:picLocks noChangeAspect="1"/>
          </p:cNvPicPr>
          <p:nvPr/>
        </p:nvPicPr>
        <p:blipFill>
          <a:blip r:embed="rId4"/>
          <a:stretch>
            <a:fillRect/>
          </a:stretch>
        </p:blipFill>
        <p:spPr>
          <a:xfrm>
            <a:off x="8763963" y="3849467"/>
            <a:ext cx="2739308" cy="2215074"/>
          </a:xfrm>
          <a:prstGeom prst="rect">
            <a:avLst/>
          </a:prstGeom>
        </p:spPr>
      </p:pic>
    </p:spTree>
    <p:extLst>
      <p:ext uri="{BB962C8B-B14F-4D97-AF65-F5344CB8AC3E}">
        <p14:creationId xmlns:p14="http://schemas.microsoft.com/office/powerpoint/2010/main" val="7829865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Product Development</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9</a:t>
            </a:fld>
            <a:endParaRPr lang="en-CA"/>
          </a:p>
        </p:txBody>
      </p:sp>
    </p:spTree>
    <p:extLst>
      <p:ext uri="{BB962C8B-B14F-4D97-AF65-F5344CB8AC3E}">
        <p14:creationId xmlns:p14="http://schemas.microsoft.com/office/powerpoint/2010/main" val="15322476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614</TotalTime>
  <Words>1748</Words>
  <Application>Microsoft Macintosh PowerPoint</Application>
  <PresentationFormat>Widescreen</PresentationFormat>
  <Paragraphs>307</Paragraphs>
  <Slides>24</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Calibri</vt:lpstr>
      <vt:lpstr>GE Inspira</vt:lpstr>
      <vt:lpstr>GE Inspira Pitch</vt:lpstr>
      <vt:lpstr>GE Inspira Sans</vt:lpstr>
      <vt:lpstr>Arial</vt:lpstr>
      <vt:lpstr>GE</vt:lpstr>
      <vt:lpstr>think-cell Slide</vt:lpstr>
      <vt:lpstr>       Current Vision        Venture Pitch  </vt:lpstr>
      <vt:lpstr>Current Vision | Org Structure</vt:lpstr>
      <vt:lpstr>Lean Canvas</vt:lpstr>
      <vt:lpstr>Current Vision | Lean Canvas &amp; High Level Overview</vt:lpstr>
      <vt:lpstr>Business Model</vt:lpstr>
      <vt:lpstr>Current Vision | Executive Summary </vt:lpstr>
      <vt:lpstr>Current Vision | Value Proposition</vt:lpstr>
      <vt:lpstr>Current Vision | Business Model</vt:lpstr>
      <vt:lpstr>Product Development</vt:lpstr>
      <vt:lpstr>PowerPoint Presentation</vt:lpstr>
      <vt:lpstr>Current Vision | Timeline</vt:lpstr>
      <vt:lpstr>Market Strategy</vt:lpstr>
      <vt:lpstr>Current Vision | Market Strategy</vt:lpstr>
      <vt:lpstr>Pricing and Revenue</vt:lpstr>
      <vt:lpstr>Current Vision | Pricing and Revenue </vt:lpstr>
      <vt:lpstr>Financing</vt:lpstr>
      <vt:lpstr>Current Vision | Valuation</vt:lpstr>
      <vt:lpstr>Current Vision | Financial Forecast</vt:lpstr>
      <vt:lpstr>Current Vision | The Ask</vt:lpstr>
      <vt:lpstr>Customer Impact</vt:lpstr>
      <vt:lpstr>Current Vision | Customer Impact</vt:lpstr>
      <vt:lpstr>Current Vision | Future Impact</vt:lpstr>
      <vt:lpstr>Demo Link</vt:lpstr>
      <vt:lpstr>Thank You</vt:lpstr>
    </vt:vector>
  </TitlesOfParts>
  <LinksUpToDate>false</LinksUpToDate>
  <SharedDoc>false</SharedDoc>
  <HyperlinksChanged>false</HyperlinksChanged>
  <AppVersion>15.003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Nguyen, Brian(GE Digital)</cp:lastModifiedBy>
  <cp:revision>455</cp:revision>
  <dcterms:created xsi:type="dcterms:W3CDTF">2016-09-14T12:26:50Z</dcterms:created>
  <dcterms:modified xsi:type="dcterms:W3CDTF">2017-07-31T19:48:34Z</dcterms:modified>
</cp:coreProperties>
</file>